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105"/>
  </p:notesMasterIdLst>
  <p:sldIdLst>
    <p:sldId id="4346" r:id="rId2"/>
    <p:sldId id="4306" r:id="rId3"/>
    <p:sldId id="4437" r:id="rId4"/>
    <p:sldId id="4438" r:id="rId5"/>
    <p:sldId id="4439" r:id="rId6"/>
    <p:sldId id="4440" r:id="rId7"/>
    <p:sldId id="4323" r:id="rId8"/>
    <p:sldId id="4350" r:id="rId9"/>
    <p:sldId id="4359" r:id="rId10"/>
    <p:sldId id="4362" r:id="rId11"/>
    <p:sldId id="4442" r:id="rId12"/>
    <p:sldId id="4441" r:id="rId13"/>
    <p:sldId id="4444" r:id="rId14"/>
    <p:sldId id="4443" r:id="rId15"/>
    <p:sldId id="4452" r:id="rId16"/>
    <p:sldId id="4453" r:id="rId17"/>
    <p:sldId id="4454" r:id="rId18"/>
    <p:sldId id="4455" r:id="rId19"/>
    <p:sldId id="4456" r:id="rId20"/>
    <p:sldId id="4457" r:id="rId21"/>
    <p:sldId id="4458" r:id="rId22"/>
    <p:sldId id="4300" r:id="rId23"/>
    <p:sldId id="4446" r:id="rId24"/>
    <p:sldId id="4451" r:id="rId25"/>
    <p:sldId id="4388" r:id="rId26"/>
    <p:sldId id="4389" r:id="rId27"/>
    <p:sldId id="4360" r:id="rId28"/>
    <p:sldId id="4347" r:id="rId29"/>
    <p:sldId id="4349" r:id="rId30"/>
    <p:sldId id="4385" r:id="rId31"/>
    <p:sldId id="4386" r:id="rId32"/>
    <p:sldId id="4447" r:id="rId33"/>
    <p:sldId id="4448" r:id="rId34"/>
    <p:sldId id="4449" r:id="rId35"/>
    <p:sldId id="4450" r:id="rId36"/>
    <p:sldId id="4387" r:id="rId37"/>
    <p:sldId id="4342" r:id="rId38"/>
    <p:sldId id="4363" r:id="rId39"/>
    <p:sldId id="4319" r:id="rId40"/>
    <p:sldId id="4364" r:id="rId41"/>
    <p:sldId id="4343" r:id="rId42"/>
    <p:sldId id="4365" r:id="rId43"/>
    <p:sldId id="4368" r:id="rId44"/>
    <p:sldId id="4369" r:id="rId45"/>
    <p:sldId id="4371" r:id="rId46"/>
    <p:sldId id="4372" r:id="rId47"/>
    <p:sldId id="4348" r:id="rId48"/>
    <p:sldId id="4339" r:id="rId49"/>
    <p:sldId id="4370" r:id="rId50"/>
    <p:sldId id="4373" r:id="rId51"/>
    <p:sldId id="4358" r:id="rId52"/>
    <p:sldId id="4377" r:id="rId53"/>
    <p:sldId id="4381" r:id="rId54"/>
    <p:sldId id="4378" r:id="rId55"/>
    <p:sldId id="4380" r:id="rId56"/>
    <p:sldId id="4383" r:id="rId57"/>
    <p:sldId id="4384" r:id="rId58"/>
    <p:sldId id="4356" r:id="rId59"/>
    <p:sldId id="4390" r:id="rId60"/>
    <p:sldId id="4392" r:id="rId61"/>
    <p:sldId id="4393" r:id="rId62"/>
    <p:sldId id="4394" r:id="rId63"/>
    <p:sldId id="4395" r:id="rId64"/>
    <p:sldId id="4396" r:id="rId65"/>
    <p:sldId id="4397" r:id="rId66"/>
    <p:sldId id="4416" r:id="rId67"/>
    <p:sldId id="4398" r:id="rId68"/>
    <p:sldId id="4399" r:id="rId69"/>
    <p:sldId id="4401" r:id="rId70"/>
    <p:sldId id="4417" r:id="rId71"/>
    <p:sldId id="4402" r:id="rId72"/>
    <p:sldId id="4406" r:id="rId73"/>
    <p:sldId id="4404" r:id="rId74"/>
    <p:sldId id="4403" r:id="rId75"/>
    <p:sldId id="4405" r:id="rId76"/>
    <p:sldId id="4407" r:id="rId77"/>
    <p:sldId id="4408" r:id="rId78"/>
    <p:sldId id="4410" r:id="rId79"/>
    <p:sldId id="4415" r:id="rId80"/>
    <p:sldId id="4414" r:id="rId81"/>
    <p:sldId id="4409" r:id="rId82"/>
    <p:sldId id="4418" r:id="rId83"/>
    <p:sldId id="4419" r:id="rId84"/>
    <p:sldId id="4411" r:id="rId85"/>
    <p:sldId id="4420" r:id="rId86"/>
    <p:sldId id="4421" r:id="rId87"/>
    <p:sldId id="4422" r:id="rId88"/>
    <p:sldId id="4425" r:id="rId89"/>
    <p:sldId id="4424" r:id="rId90"/>
    <p:sldId id="4426" r:id="rId91"/>
    <p:sldId id="4423" r:id="rId92"/>
    <p:sldId id="4427" r:id="rId93"/>
    <p:sldId id="4428" r:id="rId94"/>
    <p:sldId id="4429" r:id="rId95"/>
    <p:sldId id="4432" r:id="rId96"/>
    <p:sldId id="4433" r:id="rId97"/>
    <p:sldId id="4435" r:id="rId98"/>
    <p:sldId id="4436" r:id="rId99"/>
    <p:sldId id="4459" r:id="rId100"/>
    <p:sldId id="4460" r:id="rId101"/>
    <p:sldId id="4461" r:id="rId102"/>
    <p:sldId id="4462" r:id="rId103"/>
    <p:sldId id="4263" r:id="rId10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6575"/>
    <a:srgbClr val="595959"/>
    <a:srgbClr val="47B5C8"/>
    <a:srgbClr val="DE0A1D"/>
    <a:srgbClr val="F2A72C"/>
    <a:srgbClr val="5796D0"/>
    <a:srgbClr val="20376B"/>
    <a:srgbClr val="D9552F"/>
    <a:srgbClr val="FDBD22"/>
    <a:srgbClr val="FFD1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3" d="100"/>
          <a:sy n="93" d="100"/>
        </p:scale>
        <p:origin x="2772" y="90"/>
      </p:cViewPr>
      <p:guideLst/>
    </p:cSldViewPr>
  </p:slideViewPr>
  <p:notesTextViewPr>
    <p:cViewPr>
      <p:scale>
        <a:sx n="1" d="1"/>
        <a:sy n="1" d="1"/>
      </p:scale>
      <p:origin x="0" y="0"/>
    </p:cViewPr>
  </p:notesTextViewPr>
  <p:sorterViewPr>
    <p:cViewPr varScale="1">
      <p:scale>
        <a:sx n="100" d="100"/>
        <a:sy n="100" d="100"/>
      </p:scale>
      <p:origin x="0" y="-652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viewProps" Target="viewProp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3/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8</a:t>
            </a:fld>
            <a:endParaRPr lang="en-US"/>
          </a:p>
        </p:txBody>
      </p:sp>
    </p:spTree>
    <p:extLst>
      <p:ext uri="{BB962C8B-B14F-4D97-AF65-F5344CB8AC3E}">
        <p14:creationId xmlns:p14="http://schemas.microsoft.com/office/powerpoint/2010/main" val="3452931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37</a:t>
            </a:fld>
            <a:endParaRPr lang="en-US"/>
          </a:p>
        </p:txBody>
      </p:sp>
    </p:spTree>
    <p:extLst>
      <p:ext uri="{BB962C8B-B14F-4D97-AF65-F5344CB8AC3E}">
        <p14:creationId xmlns:p14="http://schemas.microsoft.com/office/powerpoint/2010/main" val="1725568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8</a:t>
            </a:fld>
            <a:endParaRPr lang="en-US"/>
          </a:p>
        </p:txBody>
      </p:sp>
    </p:spTree>
    <p:extLst>
      <p:ext uri="{BB962C8B-B14F-4D97-AF65-F5344CB8AC3E}">
        <p14:creationId xmlns:p14="http://schemas.microsoft.com/office/powerpoint/2010/main" val="3162434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3F744-FFDF-77E0-3860-70C38CCEEE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D1D7CA-171B-FF3D-0D8C-97FCA5AEE2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FDBDE2-AEB0-D364-68A4-614AB6747D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A67521-DBE7-DA26-17FF-1BAB138D320B}"/>
              </a:ext>
            </a:extLst>
          </p:cNvPr>
          <p:cNvSpPr>
            <a:spLocks noGrp="1"/>
          </p:cNvSpPr>
          <p:nvPr>
            <p:ph type="sldNum" sz="quarter" idx="5"/>
          </p:nvPr>
        </p:nvSpPr>
        <p:spPr/>
        <p:txBody>
          <a:bodyPr/>
          <a:lstStyle/>
          <a:p>
            <a:fld id="{4BE5DE82-CF29-044D-9158-06A811149881}" type="slidenum">
              <a:rPr lang="en-US" smtClean="0"/>
              <a:t>99</a:t>
            </a:fld>
            <a:endParaRPr lang="en-US"/>
          </a:p>
        </p:txBody>
      </p:sp>
    </p:spTree>
    <p:extLst>
      <p:ext uri="{BB962C8B-B14F-4D97-AF65-F5344CB8AC3E}">
        <p14:creationId xmlns:p14="http://schemas.microsoft.com/office/powerpoint/2010/main" val="654747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03</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a:solidFill>
                  <a:schemeClr val="bg1"/>
                </a:solidFill>
                <a:effectLst/>
                <a:latin typeface="+mn-lt"/>
                <a:ea typeface="+mn-ea"/>
                <a:cs typeface="+mn-cs"/>
                <a:sym typeface="Quattrocento Sans"/>
              </a:rPr>
              <a:t>FONT TYPEFACE &amp; SIZE</a:t>
            </a:r>
            <a:endParaRPr lang="en-IE" sz="3600" baseline="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a:solidFill>
                  <a:schemeClr val="bg1"/>
                </a:solidFill>
                <a:effectLst/>
                <a:latin typeface="+mn-lt"/>
                <a:ea typeface="+mn-ea"/>
                <a:cs typeface="+mn-cs"/>
              </a:rPr>
              <a:t>PLEASE</a:t>
            </a:r>
            <a:r>
              <a:rPr lang="en-IE" sz="3000" b="0" i="0" u="none" strike="noStrike" kern="1200" baseline="0">
                <a:solidFill>
                  <a:schemeClr val="bg1"/>
                </a:solidFill>
                <a:effectLst/>
                <a:latin typeface="+mn-lt"/>
                <a:ea typeface="+mn-ea"/>
                <a:cs typeface="+mn-cs"/>
              </a:rPr>
              <a:t> ENSURE TO KEEP FONTS AS PER THE LAYOUT</a:t>
            </a:r>
            <a:endParaRPr lang="en-IE" sz="3000" b="0" i="0" u="none" strike="noStrike" kern="1200">
              <a:solidFill>
                <a:schemeClr val="bg1"/>
              </a:solidFill>
              <a:effectLst/>
              <a:latin typeface="+mn-lt"/>
              <a:ea typeface="+mn-ea"/>
              <a:cs typeface="+mn-cs"/>
            </a:endParaRPr>
          </a:p>
          <a:p>
            <a:pPr fontAlgn="base"/>
            <a:endParaRPr lang="en-IE" sz="3000" b="0" i="0" u="none" strike="noStrike" kern="120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a:solidFill>
                  <a:schemeClr val="bg1"/>
                </a:solidFill>
                <a:effectLst/>
                <a:latin typeface="+mn-lt"/>
                <a:ea typeface="+mn-ea"/>
                <a:cs typeface="+mn-cs"/>
              </a:rPr>
              <a:t>48 point </a:t>
            </a:r>
            <a:r>
              <a:rPr lang="en-IE" sz="3000" b="0" i="0" u="none" strike="noStrike" kern="1200" baseline="0">
                <a:solidFill>
                  <a:schemeClr val="bg1"/>
                </a:solidFill>
                <a:effectLst/>
                <a:latin typeface="+mn-lt"/>
                <a:ea typeface="+mn-ea"/>
                <a:cs typeface="+mn-cs"/>
              </a:rPr>
              <a:t> -  </a:t>
            </a:r>
            <a:r>
              <a:rPr lang="en-IE" sz="3000" b="0" i="0" u="none" strike="noStrike" kern="1200">
                <a:solidFill>
                  <a:schemeClr val="bg1"/>
                </a:solidFill>
                <a:effectLst/>
                <a:latin typeface="+mn-lt"/>
                <a:ea typeface="+mn-ea"/>
                <a:cs typeface="+mn-cs"/>
              </a:rPr>
              <a:t>Divider</a:t>
            </a:r>
            <a:r>
              <a:rPr lang="en-IE" sz="3000" b="0" i="0" u="none" strike="noStrike" kern="1200" baseline="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a:solidFill>
                  <a:schemeClr val="bg1"/>
                </a:solidFill>
                <a:effectLst/>
                <a:latin typeface="+mn-lt"/>
                <a:ea typeface="+mn-ea"/>
                <a:cs typeface="+mn-cs"/>
              </a:rPr>
              <a:t>36 point</a:t>
            </a:r>
            <a:r>
              <a:rPr lang="en-IE" sz="3000" b="0" i="0" u="none" strike="noStrike" kern="1200" baseline="0">
                <a:solidFill>
                  <a:schemeClr val="bg1"/>
                </a:solidFill>
                <a:effectLst/>
                <a:latin typeface="+mn-lt"/>
                <a:ea typeface="+mn-ea"/>
                <a:cs typeface="+mn-cs"/>
              </a:rPr>
              <a:t>  -  </a:t>
            </a:r>
            <a:r>
              <a:rPr lang="en-IE" sz="3000" b="0" i="0" u="none" strike="noStrike" kern="120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a:solidFill>
                  <a:schemeClr val="bg1"/>
                </a:solidFill>
                <a:effectLst/>
                <a:latin typeface="+mn-lt"/>
                <a:ea typeface="+mn-ea"/>
                <a:cs typeface="+mn-cs"/>
              </a:rPr>
              <a:t>30 point</a:t>
            </a:r>
            <a:r>
              <a:rPr lang="en-IE" sz="3000" b="0" i="0" u="none" strike="noStrike" kern="1200" baseline="0">
                <a:solidFill>
                  <a:schemeClr val="bg1"/>
                </a:solidFill>
                <a:effectLst/>
                <a:latin typeface="+mn-lt"/>
                <a:ea typeface="+mn-ea"/>
                <a:cs typeface="+mn-cs"/>
              </a:rPr>
              <a:t>  -  </a:t>
            </a:r>
            <a:r>
              <a:rPr lang="en-IE" sz="3000" b="0" i="0" u="none" strike="noStrike" kern="120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a:solidFill>
                  <a:schemeClr val="bg1"/>
                </a:solidFill>
                <a:effectLst/>
                <a:latin typeface="+mn-lt"/>
                <a:ea typeface="+mn-ea"/>
                <a:cs typeface="+mn-cs"/>
              </a:rPr>
              <a:t>	</a:t>
            </a:r>
            <a:r>
              <a:rPr lang="en-IE" sz="3000" b="0" i="0" u="none" strike="noStrike" kern="1200" baseline="0">
                <a:solidFill>
                  <a:schemeClr val="bg1"/>
                </a:solidFill>
                <a:effectLst/>
                <a:latin typeface="+mn-lt"/>
                <a:ea typeface="+mn-ea"/>
                <a:cs typeface="+mn-cs"/>
              </a:rPr>
              <a:t>       </a:t>
            </a:r>
            <a:r>
              <a:rPr lang="en-IE" sz="3000" b="0" i="0" u="none" strike="noStrike" kern="120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a:solidFill>
                  <a:schemeClr val="bg1"/>
                </a:solidFill>
                <a:effectLst/>
                <a:latin typeface="+mn-lt"/>
                <a:ea typeface="+mn-ea"/>
                <a:cs typeface="+mn-cs"/>
              </a:rPr>
              <a:t>22 point</a:t>
            </a:r>
            <a:r>
              <a:rPr lang="en-IE" sz="3000" b="0" i="0" u="none" strike="noStrike" kern="1200" baseline="0">
                <a:solidFill>
                  <a:schemeClr val="bg1"/>
                </a:solidFill>
                <a:effectLst/>
                <a:latin typeface="+mn-lt"/>
                <a:ea typeface="+mn-ea"/>
                <a:cs typeface="+mn-cs"/>
              </a:rPr>
              <a:t>  -  </a:t>
            </a:r>
            <a:r>
              <a:rPr lang="en-IE" sz="3000" b="0" i="0" u="none" strike="noStrike" kern="1200" baseline="0">
                <a:solidFill>
                  <a:schemeClr val="bg1"/>
                </a:solidFill>
                <a:effectLst/>
                <a:latin typeface="+mn-lt"/>
                <a:ea typeface="Quattrocento Sans"/>
                <a:cs typeface="Quattrocento Sans"/>
                <a:sym typeface="Quattrocento Sans"/>
              </a:rPr>
              <a:t>Main </a:t>
            </a:r>
            <a:r>
              <a:rPr lang="en-IE" sz="3000" b="0" i="0" u="none" strike="noStrike" kern="1200">
                <a:solidFill>
                  <a:schemeClr val="bg1"/>
                </a:solidFill>
                <a:effectLst/>
                <a:latin typeface="+mn-lt"/>
                <a:ea typeface="+mn-ea"/>
                <a:cs typeface="+mn-cs"/>
              </a:rPr>
              <a:t>Text Body </a:t>
            </a:r>
            <a:endParaRPr lang="en-US" sz="3000">
              <a:solidFill>
                <a:schemeClr val="bg1"/>
              </a:solidFill>
            </a:endParaRPr>
          </a:p>
          <a:p>
            <a:pPr fontAlgn="base"/>
            <a:endParaRPr lang="en-IE" sz="3000" b="0" i="0" u="none" strike="noStrike" kern="120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a:solidFill>
                  <a:schemeClr val="bg1"/>
                </a:solidFill>
                <a:effectLst/>
                <a:latin typeface="+mn-lt"/>
                <a:ea typeface="+mn-ea"/>
                <a:cs typeface="+mn-cs"/>
                <a:sym typeface="Quattrocento Sans"/>
              </a:rPr>
              <a:t>Mosaic </a:t>
            </a:r>
            <a:r>
              <a:rPr lang="en-IE" sz="2400" b="0" i="0" u="none" strike="noStrike" kern="1200" baseline="0">
                <a:solidFill>
                  <a:schemeClr val="bg1"/>
                </a:solidFill>
                <a:effectLst/>
                <a:latin typeface="+mn-lt"/>
                <a:ea typeface="+mn-ea"/>
                <a:cs typeface="+mn-cs"/>
                <a:sym typeface="Quattrocento Sans"/>
              </a:rPr>
              <a:t>PowerPoint is</a:t>
            </a:r>
            <a:r>
              <a:rPr lang="is-IS" sz="2400" b="0" i="0" u="none" strike="noStrike" kern="1200" baseline="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a:solidFill>
                <a:schemeClr val="bg1"/>
              </a:solidFill>
              <a:effectLst/>
              <a:latin typeface="+mn-lt"/>
              <a:ea typeface="+mn-ea"/>
              <a:cs typeface="+mn-cs"/>
              <a:sym typeface="Quattrocento Sans"/>
            </a:endParaRPr>
          </a:p>
          <a:p>
            <a:pPr fontAlgn="base"/>
            <a:endParaRPr lang="en-IE" sz="2400" b="0" i="0" u="none" strike="noStrike" kern="1200" baseline="0">
              <a:solidFill>
                <a:schemeClr val="bg1"/>
              </a:solidFill>
              <a:effectLst/>
              <a:latin typeface="+mn-lt"/>
              <a:ea typeface="+mn-ea"/>
              <a:cs typeface="+mn-cs"/>
              <a:sym typeface="Quattrocento Sans"/>
            </a:endParaRPr>
          </a:p>
          <a:p>
            <a:pPr fontAlgn="base"/>
            <a:r>
              <a:rPr lang="en-IE" sz="3600" b="1" i="1" baseline="0">
                <a:solidFill>
                  <a:schemeClr val="bg1"/>
                </a:solidFill>
                <a:latin typeface="+mn-lt"/>
                <a:ea typeface="Quattrocento Sans"/>
                <a:cs typeface="Quattrocento Sans"/>
                <a:sym typeface="Quattrocento Sans"/>
              </a:rPr>
              <a:t>Calibri</a:t>
            </a:r>
            <a:endParaRPr lang="en-IE" sz="3600" baseline="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a:solidFill>
                  <a:schemeClr val="bg1"/>
                </a:solidFill>
                <a:effectLst/>
                <a:latin typeface="+mn-lt"/>
                <a:ea typeface="+mn-ea"/>
                <a:cs typeface="+mn-cs"/>
              </a:rPr>
              <a:t>*** </a:t>
            </a:r>
            <a:r>
              <a:rPr lang="en-IE" sz="2400" b="1" kern="1200">
                <a:solidFill>
                  <a:schemeClr val="bg1"/>
                </a:solidFill>
                <a:effectLst/>
                <a:latin typeface="+mn-lt"/>
                <a:ea typeface="+mn-ea"/>
                <a:cs typeface="+mn-cs"/>
              </a:rPr>
              <a:t>PLEASE DELETE THIS INSTRUCTION SLIDE BEFORE PRESENTING FINAL PRESENTATION </a:t>
            </a:r>
            <a:r>
              <a:rPr lang="en-IE" sz="2400" kern="1200">
                <a:solidFill>
                  <a:schemeClr val="bg1"/>
                </a:solidFill>
                <a:effectLst/>
                <a:latin typeface="+mn-lt"/>
                <a:ea typeface="+mn-ea"/>
                <a:cs typeface="+mn-cs"/>
              </a:rPr>
              <a:t>*** </a:t>
            </a:r>
            <a:endParaRPr lang="en-US" sz="2400" kern="120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r>
              <a:rPr lang="en-US"/>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r>
              <a:rPr lang="en-US"/>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err="1"/>
              <a:t>www.website.eu</a:t>
            </a:r>
            <a:endParaRPr lang="en-US"/>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err="1"/>
              <a:t>www.website.eu</a:t>
            </a:r>
            <a:endParaRPr lang="en-US"/>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err="1"/>
              <a:t>www.website.eu</a:t>
            </a:r>
            <a:endParaRPr lang="en-US"/>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a:t>Project Overview</a:t>
            </a:r>
          </a:p>
        </p:txBody>
      </p:sp>
      <p:cxnSp>
        <p:nvCxnSpPr>
          <p:cNvPr id="22" name="Straight Connector 21">
            <a:extLst>
              <a:ext uri="{FF2B5EF4-FFF2-40B4-BE49-F238E27FC236}">
                <a16:creationId xmlns:a16="http://schemas.microsoft.com/office/drawing/2014/main" id="{9DF01F14-643E-584E-8815-2D66531C2F34}"/>
              </a:ext>
            </a:extLst>
          </p:cNvPr>
          <p:cNvCxnSpPr>
            <a:cxnSpLocks/>
          </p:cNvCxnSpPr>
          <p:nvPr userDrawn="1"/>
        </p:nvCxnSpPr>
        <p:spPr>
          <a:xfrm flipH="1">
            <a:off x="5686328" y="473291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E19368A-FBF5-B546-8EFA-9C513A76B4D0}"/>
              </a:ext>
            </a:extLst>
          </p:cNvPr>
          <p:cNvCxnSpPr>
            <a:cxnSpLocks/>
          </p:cNvCxnSpPr>
          <p:nvPr userDrawn="1"/>
        </p:nvCxnSpPr>
        <p:spPr>
          <a:xfrm flipH="1">
            <a:off x="5686328" y="384361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D4C171-C3A2-E24D-913F-69190F67BB96}"/>
              </a:ext>
            </a:extLst>
          </p:cNvPr>
          <p:cNvCxnSpPr>
            <a:cxnSpLocks/>
          </p:cNvCxnSpPr>
          <p:nvPr userDrawn="1"/>
        </p:nvCxnSpPr>
        <p:spPr>
          <a:xfrm flipH="1">
            <a:off x="5686328" y="296282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91B2BC-7D76-4B4D-B897-64B7D14505D7}"/>
              </a:ext>
            </a:extLst>
          </p:cNvPr>
          <p:cNvCxnSpPr>
            <a:cxnSpLocks/>
          </p:cNvCxnSpPr>
          <p:nvPr userDrawn="1"/>
        </p:nvCxnSpPr>
        <p:spPr>
          <a:xfrm flipH="1">
            <a:off x="5686328" y="1984022"/>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A263E4CF-D9D5-6448-976F-02037919196A}"/>
              </a:ext>
            </a:extLst>
          </p:cNvPr>
          <p:cNvSpPr/>
          <p:nvPr userDrawn="1"/>
        </p:nvSpPr>
        <p:spPr>
          <a:xfrm>
            <a:off x="632638" y="567428"/>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a:latin typeface="Calibri" panose="020F0502020204030204" pitchFamily="34" charset="0"/>
            </a:endParaRPr>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a:t>Quote Slide</a:t>
            </a:r>
          </a:p>
        </p:txBody>
      </p:sp>
      <p:sp>
        <p:nvSpPr>
          <p:cNvPr id="22" name="Picture Placeholder 11">
            <a:extLst>
              <a:ext uri="{FF2B5EF4-FFF2-40B4-BE49-F238E27FC236}">
                <a16:creationId xmlns:a16="http://schemas.microsoft.com/office/drawing/2014/main" id="{141817D9-EF4F-5648-8536-69E23DB87BED}"/>
              </a:ext>
            </a:extLst>
          </p:cNvPr>
          <p:cNvSpPr>
            <a:spLocks noGrp="1"/>
          </p:cNvSpPr>
          <p:nvPr>
            <p:ph type="pic" sz="quarter" idx="42"/>
          </p:nvPr>
        </p:nvSpPr>
        <p:spPr>
          <a:xfrm>
            <a:off x="6096000" y="1404749"/>
            <a:ext cx="5239644" cy="4704418"/>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484AD6D-BEAF-BFDB-33C0-43B3D319B4E9}"/>
              </a:ext>
            </a:extLst>
          </p:cNvPr>
          <p:cNvGraphicFramePr>
            <a:graphicFrameLocks noChangeAspect="1"/>
          </p:cNvGraphicFramePr>
          <p:nvPr userDrawn="1">
            <p:custDataLst>
              <p:tags r:id="rId20"/>
            </p:custDataLst>
            <p:extLst>
              <p:ext uri="{D42A27DB-BD31-4B8C-83A1-F6EECF244321}">
                <p14:modId xmlns:p14="http://schemas.microsoft.com/office/powerpoint/2010/main" val="202401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hyperlink" Target="https://www.lawyersandsettlements.com/blog/got-a-samsung-washer-explosion-story.html" TargetMode="External"/><Relationship Id="rId2" Type="http://schemas.openxmlformats.org/officeDocument/2006/relationships/image" Target="../media/image15.jpeg"/><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93.svg"/></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https://blogs.imperial.ac.uk/imperial-medicine/2019/09/16/poor-diversity-poor-design-the-truth-about-inclusive-research-and-why-it-matters/" TargetMode="External"/><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blog.oxfordcollegeofmarketing.com/2020/10/08/understanding-the-7ps-of-the-marketing-mix/" TargetMode="External"/><Relationship Id="rId2" Type="http://schemas.openxmlformats.org/officeDocument/2006/relationships/hyperlink" Target="https://www.linkedin.com/pulse/history-marketing-mix-from-4ps-7ps-yousef-baalbaki/" TargetMode="External"/><Relationship Id="rId1" Type="http://schemas.openxmlformats.org/officeDocument/2006/relationships/slideLayout" Target="../slideLayouts/slideLayout10.xml"/><Relationship Id="rId5" Type="http://schemas.openxmlformats.org/officeDocument/2006/relationships/hyperlink" Target="https://pixabay.com/fr/alphabet-p-abc-lettre-150779/" TargetMode="Externa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youtube.com/watch?v=ft8QvCJQgik" TargetMode="External"/><Relationship Id="rId1" Type="http://schemas.openxmlformats.org/officeDocument/2006/relationships/slideLayout" Target="../slideLayouts/slideLayout16.xml"/><Relationship Id="rId5" Type="http://schemas.openxmlformats.org/officeDocument/2006/relationships/image" Target="../media/image31.jpg"/><Relationship Id="rId4" Type="http://schemas.openxmlformats.org/officeDocument/2006/relationships/image" Target="../media/image30.svg"/></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hyperlink" Target="https://www.youtube.com/watch?v=hM7aqPW3fxY" TargetMode="External"/><Relationship Id="rId2" Type="http://schemas.openxmlformats.org/officeDocument/2006/relationships/hyperlink" Target="https://www.youtube.com/watch?v=sMlczYnSVYo" TargetMode="External"/><Relationship Id="rId1" Type="http://schemas.openxmlformats.org/officeDocument/2006/relationships/slideLayout" Target="../slideLayouts/slideLayout10.xml"/><Relationship Id="rId4" Type="http://schemas.openxmlformats.org/officeDocument/2006/relationships/hyperlink" Target="https://www.youtube.com/watch?v=blmqKqJ0BMw"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3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32.png"/><Relationship Id="rId5" Type="http://schemas.openxmlformats.org/officeDocument/2006/relationships/image" Target="../media/image44.jpe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5.jpe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10.xml"/><Relationship Id="rId5" Type="http://schemas.openxmlformats.org/officeDocument/2006/relationships/image" Target="../media/image50.png"/><Relationship Id="rId4" Type="http://schemas.openxmlformats.org/officeDocument/2006/relationships/hyperlink" Target="https://www.lego.com/en-us/aboutus/lego-group/the-lego-brand"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hyperlink" Target="https://www.shopify.ca/tools/business-name-generator" TargetMode="External"/><Relationship Id="rId2" Type="http://schemas.openxmlformats.org/officeDocument/2006/relationships/image" Target="../media/image49.png"/><Relationship Id="rId1" Type="http://schemas.openxmlformats.org/officeDocument/2006/relationships/slideLayout" Target="../slideLayouts/slideLayout10.xml"/><Relationship Id="rId5" Type="http://schemas.openxmlformats.org/officeDocument/2006/relationships/hyperlink" Target="https://www.lego.com/en-us/aboutus/lego-group/the-lego-brand" TargetMode="External"/><Relationship Id="rId4" Type="http://schemas.openxmlformats.org/officeDocument/2006/relationships/image" Target="../media/image54.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hyperlink" Target="https://www.zeebahsfoods.ie/" TargetMode="External"/><Relationship Id="rId2" Type="http://schemas.openxmlformats.org/officeDocument/2006/relationships/image" Target="../media/image49.png"/><Relationship Id="rId1" Type="http://schemas.openxmlformats.org/officeDocument/2006/relationships/slideLayout" Target="../slideLayouts/slideLayout10.xml"/><Relationship Id="rId4" Type="http://schemas.openxmlformats.org/officeDocument/2006/relationships/image" Target="../media/image55.jpeg"/></Relationships>
</file>

<file path=ppt/slides/_rels/slide5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10.xml"/><Relationship Id="rId5" Type="http://schemas.openxmlformats.org/officeDocument/2006/relationships/image" Target="../media/image59.jpeg"/><Relationship Id="rId4" Type="http://schemas.openxmlformats.org/officeDocument/2006/relationships/image" Target="../media/image58.png"/></Relationships>
</file>

<file path=ppt/slides/_rels/slide5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10.xml"/><Relationship Id="rId4" Type="http://schemas.openxmlformats.org/officeDocument/2006/relationships/image" Target="../media/image62.jpeg"/></Relationships>
</file>

<file path=ppt/slides/_rels/slide55.xml.rels><?xml version="1.0" encoding="UTF-8" standalone="yes"?>
<Relationships xmlns="http://schemas.openxmlformats.org/package/2006/relationships"><Relationship Id="rId3" Type="http://schemas.openxmlformats.org/officeDocument/2006/relationships/image" Target="../media/image64.jpe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10.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5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hyperlink" Target="https://www.oberlo.com/blog/color-psychology-color-meanings" TargetMode="Externa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oberlo.com/blog/color-psychology-color-meanings" TargetMode="Externa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hyperlink" Target="https://support.google.com/business" TargetMode="External"/><Relationship Id="rId2" Type="http://schemas.openxmlformats.org/officeDocument/2006/relationships/image" Target="../media/image73.jpeg"/><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hyperlink" Target="http://www.mailchimp.com/" TargetMode="External"/><Relationship Id="rId2" Type="http://schemas.openxmlformats.org/officeDocument/2006/relationships/image" Target="../media/image74.png"/><Relationship Id="rId1" Type="http://schemas.openxmlformats.org/officeDocument/2006/relationships/slideLayout" Target="../slideLayouts/slideLayout10.xml"/><Relationship Id="rId5" Type="http://schemas.openxmlformats.org/officeDocument/2006/relationships/hyperlink" Target="http://www.aweber.com/" TargetMode="External"/><Relationship Id="rId4" Type="http://schemas.openxmlformats.org/officeDocument/2006/relationships/hyperlink" Target="http://www.constantcontact.com/" TargetMode="External"/></Relationships>
</file>

<file path=ppt/slides/_rels/slide6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1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89.jpg"/><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748178" y="2505025"/>
            <a:ext cx="5089964" cy="749292"/>
          </a:xfrm>
        </p:spPr>
        <p:txBody>
          <a:bodyPr>
            <a:noAutofit/>
          </a:bodyPr>
          <a:lstStyle/>
          <a:p>
            <a:r>
              <a:rPr lang="en-US" sz="3200" dirty="0"/>
              <a:t>Modul 9 </a:t>
            </a:r>
          </a:p>
          <a:p>
            <a:r>
              <a:rPr lang="en-US" sz="3200" dirty="0"/>
              <a:t>Marketing und Vertrieb für unterrepräsentierte Unternehmerinnen und Unternehmer </a:t>
            </a: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1812" y="5086974"/>
            <a:ext cx="4414577" cy="679345"/>
          </a:xfrm>
          <a:prstGeom prst="rect">
            <a:avLst/>
          </a:prstGeom>
        </p:spPr>
        <p:txBody>
          <a:bodyPr/>
          <a:lstStyle/>
          <a:p>
            <a:pPr marL="0" indent="0">
              <a:buNone/>
            </a:pPr>
            <a:r>
              <a:rPr lang="en-GB" b="1">
                <a:solidFill>
                  <a:schemeClr val="bg1"/>
                </a:solidFill>
              </a:rPr>
              <a:t>www.mosaic4investing.eu</a:t>
            </a:r>
            <a:endParaRPr lang="en-US" sz="4000" b="1">
              <a:solidFill>
                <a:schemeClr val="bg1"/>
              </a:solidFill>
            </a:endParaRPr>
          </a:p>
        </p:txBody>
      </p:sp>
      <p:pic>
        <p:nvPicPr>
          <p:cNvPr id="3" name="Picture Placeholder 5" descr="3D graphic chart">
            <a:extLst>
              <a:ext uri="{FF2B5EF4-FFF2-40B4-BE49-F238E27FC236}">
                <a16:creationId xmlns:a16="http://schemas.microsoft.com/office/drawing/2014/main" id="{FACFF1CF-772E-E1FA-CE06-5B355590AEFE}"/>
              </a:ext>
            </a:extLst>
          </p:cNvPr>
          <p:cNvPicPr>
            <a:picLocks noGrp="1" noChangeAspect="1"/>
          </p:cNvPicPr>
          <p:nvPr>
            <p:ph type="pic" sz="quarter" idx="41"/>
          </p:nvPr>
        </p:nvPicPr>
        <p:blipFill>
          <a:blip r:embed="rId3"/>
          <a:srcRect l="18215" r="18215"/>
          <a:stretch>
            <a:fillRect/>
          </a:stretch>
        </p:blipFill>
        <p:spPr>
          <a:xfrm>
            <a:off x="6049963" y="0"/>
            <a:ext cx="4660900" cy="5514975"/>
          </a:xfrm>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248732" y="1726860"/>
            <a:ext cx="5182202" cy="3849918"/>
          </a:xfrm>
        </p:spPr>
        <p:txBody>
          <a:bodyPr/>
          <a:lstStyle/>
          <a:p>
            <a:endParaRPr lang="en-US" sz="100" dirty="0"/>
          </a:p>
          <a:p>
            <a:pPr marL="0" indent="0"/>
            <a:r>
              <a:rPr lang="en-US" dirty="0"/>
              <a:t>Marketing hört nie auf. Wie die Wäsche, ist es nie fertig! Es geht darum, </a:t>
            </a:r>
            <a:r>
              <a:rPr lang="en-US" b="1" dirty="0"/>
              <a:t>herauszustechen </a:t>
            </a:r>
            <a:r>
              <a:rPr lang="en-US" dirty="0"/>
              <a:t>und sich jeden Tag mehr anzustrengen (nicht nur, wenn man meint, man sollte oder muss).  </a:t>
            </a:r>
          </a:p>
          <a:p>
            <a:pPr marL="0" indent="0"/>
            <a:r>
              <a:rPr lang="en-US" dirty="0"/>
              <a:t>Beim Marketing geht es um </a:t>
            </a:r>
            <a:r>
              <a:rPr lang="en-US" b="1" dirty="0"/>
              <a:t>Beziehungen</a:t>
            </a:r>
            <a:r>
              <a:rPr lang="en-US" dirty="0"/>
              <a:t>. Sie sind Ihr wichtigstes Marketinginstrument.</a:t>
            </a:r>
          </a:p>
          <a:p>
            <a:pPr marL="0" indent="0"/>
            <a:r>
              <a:rPr lang="en-US" dirty="0"/>
              <a:t>Marketing bedeutet, </a:t>
            </a:r>
            <a:r>
              <a:rPr lang="en-US" b="1" dirty="0"/>
              <a:t>Ihre einzigartige Geschichte</a:t>
            </a:r>
            <a:r>
              <a:rPr lang="en-US" dirty="0"/>
              <a:t>, Ihr </a:t>
            </a:r>
            <a:r>
              <a:rPr lang="en-US" b="1" dirty="0"/>
              <a:t>Angebot </a:t>
            </a:r>
            <a:r>
              <a:rPr lang="en-US" dirty="0"/>
              <a:t>und Ihre </a:t>
            </a:r>
            <a:r>
              <a:rPr lang="en-US" b="1" dirty="0"/>
              <a:t>Lösung </a:t>
            </a:r>
            <a:r>
              <a:rPr lang="en-US" dirty="0"/>
              <a:t>mit den </a:t>
            </a:r>
            <a:r>
              <a:rPr lang="en-US" b="1" dirty="0"/>
              <a:t>richtigen Leuten </a:t>
            </a:r>
            <a:r>
              <a:rPr lang="en-US" dirty="0"/>
              <a:t>zu teilen.</a:t>
            </a:r>
          </a:p>
          <a:p>
            <a:endParaRPr lang="en-US" dirty="0"/>
          </a:p>
          <a:p>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Marketing hört nie auf</a:t>
            </a:r>
            <a:endParaRPr lang="en-US"/>
          </a:p>
        </p:txBody>
      </p:sp>
      <p:pic>
        <p:nvPicPr>
          <p:cNvPr id="3" name="Picture 2" descr="A picture containing basket, sitting, blanket, table&#10;&#10;Description automatically generated">
            <a:extLst>
              <a:ext uri="{FF2B5EF4-FFF2-40B4-BE49-F238E27FC236}">
                <a16:creationId xmlns:a16="http://schemas.microsoft.com/office/drawing/2014/main" id="{1927077B-86B7-EAF9-4941-63AF6BB862E1}"/>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81886" y="1880558"/>
            <a:ext cx="4185905" cy="3157272"/>
          </a:xfrm>
          <a:prstGeom prst="rect">
            <a:avLst/>
          </a:prstGeom>
        </p:spPr>
      </p:pic>
    </p:spTree>
    <p:extLst>
      <p:ext uri="{BB962C8B-B14F-4D97-AF65-F5344CB8AC3E}">
        <p14:creationId xmlns:p14="http://schemas.microsoft.com/office/powerpoint/2010/main" val="32263226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81A3E-B34F-3DBC-EE24-6E030404CDF0}"/>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94AA3F49-C5F3-433E-5477-E25AEDD4947B}"/>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C2874ADE-6CB2-B74E-5F44-A603AA13F16B}"/>
              </a:ext>
            </a:extLst>
          </p:cNvPr>
          <p:cNvSpPr>
            <a:spLocks noGrp="1"/>
          </p:cNvSpPr>
          <p:nvPr>
            <p:ph type="body" sz="quarter" idx="16"/>
          </p:nvPr>
        </p:nvSpPr>
        <p:spPr>
          <a:xfrm>
            <a:off x="381286" y="761603"/>
            <a:ext cx="10659020" cy="803654"/>
          </a:xfrm>
        </p:spPr>
        <p:txBody>
          <a:bodyPr/>
          <a:lstStyle/>
          <a:p>
            <a:r>
              <a:rPr lang="en-US" dirty="0">
                <a:solidFill>
                  <a:schemeClr val="bg1"/>
                </a:solidFill>
              </a:rPr>
              <a:t>Übung</a:t>
            </a:r>
          </a:p>
          <a:p>
            <a:endParaRPr lang="en-US" dirty="0"/>
          </a:p>
        </p:txBody>
      </p:sp>
      <p:sp>
        <p:nvSpPr>
          <p:cNvPr id="7" name="Google Shape;239;p8">
            <a:extLst>
              <a:ext uri="{FF2B5EF4-FFF2-40B4-BE49-F238E27FC236}">
                <a16:creationId xmlns:a16="http://schemas.microsoft.com/office/drawing/2014/main" id="{FC578C78-CB14-614C-4970-38ABF0912CB6}"/>
              </a:ext>
            </a:extLst>
          </p:cNvPr>
          <p:cNvSpPr/>
          <p:nvPr/>
        </p:nvSpPr>
        <p:spPr>
          <a:xfrm>
            <a:off x="8676100" y="1964864"/>
            <a:ext cx="528063" cy="467784"/>
          </a:xfrm>
          <a:custGeom>
            <a:avLst/>
            <a:gdLst/>
            <a:ahLst/>
            <a:cxnLst/>
            <a:rect l="l" t="t" r="r" b="b"/>
            <a:pathLst>
              <a:path w="6693" h="5929" extrusionOk="0">
                <a:moveTo>
                  <a:pt x="224" y="1"/>
                </a:moveTo>
                <a:lnTo>
                  <a:pt x="168" y="20"/>
                </a:lnTo>
                <a:lnTo>
                  <a:pt x="94" y="75"/>
                </a:lnTo>
                <a:lnTo>
                  <a:pt x="19" y="169"/>
                </a:lnTo>
                <a:lnTo>
                  <a:pt x="19" y="225"/>
                </a:lnTo>
                <a:lnTo>
                  <a:pt x="1" y="281"/>
                </a:lnTo>
                <a:lnTo>
                  <a:pt x="1" y="467"/>
                </a:lnTo>
                <a:lnTo>
                  <a:pt x="19" y="523"/>
                </a:lnTo>
                <a:lnTo>
                  <a:pt x="19" y="560"/>
                </a:lnTo>
                <a:lnTo>
                  <a:pt x="94" y="653"/>
                </a:lnTo>
                <a:lnTo>
                  <a:pt x="168" y="709"/>
                </a:lnTo>
                <a:lnTo>
                  <a:pt x="224" y="728"/>
                </a:lnTo>
                <a:lnTo>
                  <a:pt x="280" y="747"/>
                </a:lnTo>
                <a:lnTo>
                  <a:pt x="1100" y="747"/>
                </a:lnTo>
                <a:lnTo>
                  <a:pt x="1902" y="4717"/>
                </a:lnTo>
                <a:lnTo>
                  <a:pt x="1827" y="4773"/>
                </a:lnTo>
                <a:lnTo>
                  <a:pt x="1771" y="4829"/>
                </a:lnTo>
                <a:lnTo>
                  <a:pt x="1715" y="4903"/>
                </a:lnTo>
                <a:lnTo>
                  <a:pt x="1659" y="4978"/>
                </a:lnTo>
                <a:lnTo>
                  <a:pt x="1622" y="5052"/>
                </a:lnTo>
                <a:lnTo>
                  <a:pt x="1604" y="5127"/>
                </a:lnTo>
                <a:lnTo>
                  <a:pt x="1585" y="5220"/>
                </a:lnTo>
                <a:lnTo>
                  <a:pt x="1585" y="5313"/>
                </a:lnTo>
                <a:lnTo>
                  <a:pt x="1604" y="5444"/>
                </a:lnTo>
                <a:lnTo>
                  <a:pt x="1641" y="5556"/>
                </a:lnTo>
                <a:lnTo>
                  <a:pt x="1697" y="5649"/>
                </a:lnTo>
                <a:lnTo>
                  <a:pt x="1771" y="5742"/>
                </a:lnTo>
                <a:lnTo>
                  <a:pt x="1864" y="5817"/>
                </a:lnTo>
                <a:lnTo>
                  <a:pt x="1976" y="5872"/>
                </a:lnTo>
                <a:lnTo>
                  <a:pt x="2088" y="5910"/>
                </a:lnTo>
                <a:lnTo>
                  <a:pt x="2200" y="5928"/>
                </a:lnTo>
                <a:lnTo>
                  <a:pt x="2330" y="5928"/>
                </a:lnTo>
                <a:lnTo>
                  <a:pt x="2461" y="5891"/>
                </a:lnTo>
                <a:lnTo>
                  <a:pt x="2573" y="5835"/>
                </a:lnTo>
                <a:lnTo>
                  <a:pt x="2685" y="5761"/>
                </a:lnTo>
                <a:lnTo>
                  <a:pt x="2759" y="5649"/>
                </a:lnTo>
                <a:lnTo>
                  <a:pt x="2834" y="5537"/>
                </a:lnTo>
                <a:lnTo>
                  <a:pt x="2871" y="5425"/>
                </a:lnTo>
                <a:lnTo>
                  <a:pt x="2890" y="5295"/>
                </a:lnTo>
                <a:lnTo>
                  <a:pt x="2871" y="5146"/>
                </a:lnTo>
                <a:lnTo>
                  <a:pt x="2834" y="5034"/>
                </a:lnTo>
                <a:lnTo>
                  <a:pt x="2759" y="4922"/>
                </a:lnTo>
                <a:lnTo>
                  <a:pt x="2685" y="4829"/>
                </a:lnTo>
                <a:lnTo>
                  <a:pt x="5126" y="4829"/>
                </a:lnTo>
                <a:lnTo>
                  <a:pt x="5033" y="4922"/>
                </a:lnTo>
                <a:lnTo>
                  <a:pt x="4977" y="5034"/>
                </a:lnTo>
                <a:lnTo>
                  <a:pt x="4940" y="5164"/>
                </a:lnTo>
                <a:lnTo>
                  <a:pt x="4921" y="5295"/>
                </a:lnTo>
                <a:lnTo>
                  <a:pt x="4940" y="5425"/>
                </a:lnTo>
                <a:lnTo>
                  <a:pt x="4977" y="5556"/>
                </a:lnTo>
                <a:lnTo>
                  <a:pt x="5033" y="5649"/>
                </a:lnTo>
                <a:lnTo>
                  <a:pt x="5126" y="5742"/>
                </a:lnTo>
                <a:lnTo>
                  <a:pt x="5220" y="5817"/>
                </a:lnTo>
                <a:lnTo>
                  <a:pt x="5313" y="5891"/>
                </a:lnTo>
                <a:lnTo>
                  <a:pt x="5443" y="5928"/>
                </a:lnTo>
                <a:lnTo>
                  <a:pt x="5704" y="5928"/>
                </a:lnTo>
                <a:lnTo>
                  <a:pt x="5816" y="5891"/>
                </a:lnTo>
                <a:lnTo>
                  <a:pt x="5928" y="5835"/>
                </a:lnTo>
                <a:lnTo>
                  <a:pt x="6021" y="5742"/>
                </a:lnTo>
                <a:lnTo>
                  <a:pt x="6114" y="5649"/>
                </a:lnTo>
                <a:lnTo>
                  <a:pt x="6170" y="5537"/>
                </a:lnTo>
                <a:lnTo>
                  <a:pt x="6208" y="5425"/>
                </a:lnTo>
                <a:lnTo>
                  <a:pt x="6226" y="5295"/>
                </a:lnTo>
                <a:lnTo>
                  <a:pt x="6208" y="5183"/>
                </a:lnTo>
                <a:lnTo>
                  <a:pt x="6189" y="5108"/>
                </a:lnTo>
                <a:lnTo>
                  <a:pt x="6170" y="5015"/>
                </a:lnTo>
                <a:lnTo>
                  <a:pt x="6114" y="4940"/>
                </a:lnTo>
                <a:lnTo>
                  <a:pt x="6077" y="4866"/>
                </a:lnTo>
                <a:lnTo>
                  <a:pt x="6003" y="4810"/>
                </a:lnTo>
                <a:lnTo>
                  <a:pt x="5928" y="4754"/>
                </a:lnTo>
                <a:lnTo>
                  <a:pt x="5853" y="4698"/>
                </a:lnTo>
                <a:lnTo>
                  <a:pt x="5928" y="4419"/>
                </a:lnTo>
                <a:lnTo>
                  <a:pt x="5928" y="4363"/>
                </a:lnTo>
                <a:lnTo>
                  <a:pt x="5928" y="4288"/>
                </a:lnTo>
                <a:lnTo>
                  <a:pt x="5891" y="4232"/>
                </a:lnTo>
                <a:lnTo>
                  <a:pt x="5872" y="4176"/>
                </a:lnTo>
                <a:lnTo>
                  <a:pt x="5816" y="4139"/>
                </a:lnTo>
                <a:lnTo>
                  <a:pt x="5779" y="4102"/>
                </a:lnTo>
                <a:lnTo>
                  <a:pt x="5723" y="4083"/>
                </a:lnTo>
                <a:lnTo>
                  <a:pt x="2536" y="4083"/>
                </a:lnTo>
                <a:lnTo>
                  <a:pt x="2461" y="3710"/>
                </a:lnTo>
                <a:lnTo>
                  <a:pt x="5853" y="3710"/>
                </a:lnTo>
                <a:lnTo>
                  <a:pt x="5947" y="3692"/>
                </a:lnTo>
                <a:lnTo>
                  <a:pt x="6040" y="3654"/>
                </a:lnTo>
                <a:lnTo>
                  <a:pt x="6096" y="3580"/>
                </a:lnTo>
                <a:lnTo>
                  <a:pt x="6133" y="3487"/>
                </a:lnTo>
                <a:lnTo>
                  <a:pt x="6674" y="1082"/>
                </a:lnTo>
                <a:lnTo>
                  <a:pt x="6692" y="1007"/>
                </a:lnTo>
                <a:lnTo>
                  <a:pt x="6674" y="952"/>
                </a:lnTo>
                <a:lnTo>
                  <a:pt x="6655" y="896"/>
                </a:lnTo>
                <a:lnTo>
                  <a:pt x="6618" y="840"/>
                </a:lnTo>
                <a:lnTo>
                  <a:pt x="6580" y="802"/>
                </a:lnTo>
                <a:lnTo>
                  <a:pt x="6524" y="765"/>
                </a:lnTo>
                <a:lnTo>
                  <a:pt x="6469" y="747"/>
                </a:lnTo>
                <a:lnTo>
                  <a:pt x="1846" y="747"/>
                </a:lnTo>
                <a:lnTo>
                  <a:pt x="1753" y="225"/>
                </a:lnTo>
                <a:lnTo>
                  <a:pt x="1715" y="131"/>
                </a:lnTo>
                <a:lnTo>
                  <a:pt x="1641" y="57"/>
                </a:lnTo>
                <a:lnTo>
                  <a:pt x="1566" y="20"/>
                </a:lnTo>
                <a:lnTo>
                  <a:pt x="1473"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E507F04C-B150-38BF-5044-EB51936BA3D3}"/>
              </a:ext>
            </a:extLst>
          </p:cNvPr>
          <p:cNvSpPr txBox="1"/>
          <p:nvPr/>
        </p:nvSpPr>
        <p:spPr>
          <a:xfrm>
            <a:off x="884115" y="1565257"/>
            <a:ext cx="9984756" cy="3477875"/>
          </a:xfrm>
          <a:prstGeom prst="rect">
            <a:avLst/>
          </a:prstGeom>
          <a:noFill/>
        </p:spPr>
        <p:txBody>
          <a:bodyPr wrap="square">
            <a:spAutoFit/>
          </a:bodyPr>
          <a:lstStyle/>
          <a:p>
            <a:r>
              <a:rPr lang="en-GB" sz="2000" dirty="0">
                <a:solidFill>
                  <a:srgbClr val="595959"/>
                </a:solidFill>
              </a:rPr>
              <a:t>Es ist eine lohnende Übung, um die Wirksamkeit Ihrer derzeitigen oder geplanten Strategien zu bewerten und Möglichkeiten für eine bessere Ausrichtung zu ermitteln.</a:t>
            </a:r>
          </a:p>
          <a:p>
            <a:endParaRPr lang="en-GB" sz="2000" dirty="0">
              <a:solidFill>
                <a:srgbClr val="595959"/>
              </a:solidFill>
            </a:endParaRPr>
          </a:p>
          <a:p>
            <a:r>
              <a:rPr lang="en-GB" sz="2000" b="1" dirty="0"/>
              <a:t>Bewerten Sie die Umwandlung von Marketing in Verkauf</a:t>
            </a:r>
            <a:r>
              <a:rPr lang="en-GB" sz="2000" dirty="0"/>
              <a:t>:</a:t>
            </a:r>
          </a:p>
          <a:p>
            <a:r>
              <a:rPr lang="en-GB" sz="2000" b="1" dirty="0"/>
              <a:t>Reflexion</a:t>
            </a:r>
            <a:r>
              <a:rPr lang="en-GB" sz="2000" dirty="0"/>
              <a:t>: </a:t>
            </a:r>
            <a:r>
              <a:rPr lang="en-GB" sz="2000" dirty="0">
                <a:solidFill>
                  <a:srgbClr val="595959"/>
                </a:solidFill>
              </a:rPr>
              <a:t>Beurteilen Sie, wie effektiv Ihre derzeitigen oder geplanten Marketingmaßnahmen zu Verkäufen führen. Gibt es klare Wege für potenzielle Kunden, die sich mit Ihren Marketinginhalten beschäftigen, um einen Kauf zu tätigen?</a:t>
            </a:r>
          </a:p>
          <a:p>
            <a:r>
              <a:rPr lang="en-GB" sz="2000" b="1" dirty="0"/>
              <a:t>Aktion</a:t>
            </a:r>
            <a:r>
              <a:rPr lang="en-GB" sz="2000" dirty="0"/>
              <a:t>: </a:t>
            </a:r>
            <a:r>
              <a:rPr lang="en-GB" sz="2000" dirty="0">
                <a:solidFill>
                  <a:srgbClr val="595959"/>
                </a:solidFill>
              </a:rPr>
              <a:t>Überprüfen Sie Ihre jüngsten Marketingkampagnen und Verkaufsdaten, selbst in der MPV- oder Pilotphase. Achten Sie auf Trends, wie z. B. Umsatzsteigerungen während bestimmter Kampagnen, oder bewerten Sie die Qualität der Leads, die aus Marketingmaßnahmen stammen.</a:t>
            </a:r>
          </a:p>
        </p:txBody>
      </p:sp>
    </p:spTree>
    <p:extLst>
      <p:ext uri="{BB962C8B-B14F-4D97-AF65-F5344CB8AC3E}">
        <p14:creationId xmlns:p14="http://schemas.microsoft.com/office/powerpoint/2010/main" val="121580244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A51C4-5E35-ECDB-9E5E-A71874532B79}"/>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C3E34F54-75E1-6974-E1E3-B9AF9BD8B5EB}"/>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6CCCFD7A-CAC9-91F4-FD12-E8949A47C9F0}"/>
              </a:ext>
            </a:extLst>
          </p:cNvPr>
          <p:cNvSpPr>
            <a:spLocks noGrp="1"/>
          </p:cNvSpPr>
          <p:nvPr>
            <p:ph type="body" sz="quarter" idx="16"/>
          </p:nvPr>
        </p:nvSpPr>
        <p:spPr>
          <a:xfrm>
            <a:off x="381286" y="761603"/>
            <a:ext cx="10659020" cy="803654"/>
          </a:xfrm>
        </p:spPr>
        <p:txBody>
          <a:bodyPr/>
          <a:lstStyle/>
          <a:p>
            <a:r>
              <a:rPr lang="en-US" dirty="0">
                <a:solidFill>
                  <a:schemeClr val="bg1"/>
                </a:solidFill>
              </a:rPr>
              <a:t>Übung</a:t>
            </a:r>
          </a:p>
          <a:p>
            <a:endParaRPr lang="en-US" dirty="0"/>
          </a:p>
        </p:txBody>
      </p:sp>
      <p:sp>
        <p:nvSpPr>
          <p:cNvPr id="7" name="Google Shape;239;p8">
            <a:extLst>
              <a:ext uri="{FF2B5EF4-FFF2-40B4-BE49-F238E27FC236}">
                <a16:creationId xmlns:a16="http://schemas.microsoft.com/office/drawing/2014/main" id="{02BD8D02-9B98-9370-0FBF-7E2825E46A88}"/>
              </a:ext>
            </a:extLst>
          </p:cNvPr>
          <p:cNvSpPr/>
          <p:nvPr/>
        </p:nvSpPr>
        <p:spPr>
          <a:xfrm>
            <a:off x="8676100" y="1964864"/>
            <a:ext cx="528063" cy="467784"/>
          </a:xfrm>
          <a:custGeom>
            <a:avLst/>
            <a:gdLst/>
            <a:ahLst/>
            <a:cxnLst/>
            <a:rect l="l" t="t" r="r" b="b"/>
            <a:pathLst>
              <a:path w="6693" h="5929" extrusionOk="0">
                <a:moveTo>
                  <a:pt x="224" y="1"/>
                </a:moveTo>
                <a:lnTo>
                  <a:pt x="168" y="20"/>
                </a:lnTo>
                <a:lnTo>
                  <a:pt x="94" y="75"/>
                </a:lnTo>
                <a:lnTo>
                  <a:pt x="19" y="169"/>
                </a:lnTo>
                <a:lnTo>
                  <a:pt x="19" y="225"/>
                </a:lnTo>
                <a:lnTo>
                  <a:pt x="1" y="281"/>
                </a:lnTo>
                <a:lnTo>
                  <a:pt x="1" y="467"/>
                </a:lnTo>
                <a:lnTo>
                  <a:pt x="19" y="523"/>
                </a:lnTo>
                <a:lnTo>
                  <a:pt x="19" y="560"/>
                </a:lnTo>
                <a:lnTo>
                  <a:pt x="94" y="653"/>
                </a:lnTo>
                <a:lnTo>
                  <a:pt x="168" y="709"/>
                </a:lnTo>
                <a:lnTo>
                  <a:pt x="224" y="728"/>
                </a:lnTo>
                <a:lnTo>
                  <a:pt x="280" y="747"/>
                </a:lnTo>
                <a:lnTo>
                  <a:pt x="1100" y="747"/>
                </a:lnTo>
                <a:lnTo>
                  <a:pt x="1902" y="4717"/>
                </a:lnTo>
                <a:lnTo>
                  <a:pt x="1827" y="4773"/>
                </a:lnTo>
                <a:lnTo>
                  <a:pt x="1771" y="4829"/>
                </a:lnTo>
                <a:lnTo>
                  <a:pt x="1715" y="4903"/>
                </a:lnTo>
                <a:lnTo>
                  <a:pt x="1659" y="4978"/>
                </a:lnTo>
                <a:lnTo>
                  <a:pt x="1622" y="5052"/>
                </a:lnTo>
                <a:lnTo>
                  <a:pt x="1604" y="5127"/>
                </a:lnTo>
                <a:lnTo>
                  <a:pt x="1585" y="5220"/>
                </a:lnTo>
                <a:lnTo>
                  <a:pt x="1585" y="5313"/>
                </a:lnTo>
                <a:lnTo>
                  <a:pt x="1604" y="5444"/>
                </a:lnTo>
                <a:lnTo>
                  <a:pt x="1641" y="5556"/>
                </a:lnTo>
                <a:lnTo>
                  <a:pt x="1697" y="5649"/>
                </a:lnTo>
                <a:lnTo>
                  <a:pt x="1771" y="5742"/>
                </a:lnTo>
                <a:lnTo>
                  <a:pt x="1864" y="5817"/>
                </a:lnTo>
                <a:lnTo>
                  <a:pt x="1976" y="5872"/>
                </a:lnTo>
                <a:lnTo>
                  <a:pt x="2088" y="5910"/>
                </a:lnTo>
                <a:lnTo>
                  <a:pt x="2200" y="5928"/>
                </a:lnTo>
                <a:lnTo>
                  <a:pt x="2330" y="5928"/>
                </a:lnTo>
                <a:lnTo>
                  <a:pt x="2461" y="5891"/>
                </a:lnTo>
                <a:lnTo>
                  <a:pt x="2573" y="5835"/>
                </a:lnTo>
                <a:lnTo>
                  <a:pt x="2685" y="5761"/>
                </a:lnTo>
                <a:lnTo>
                  <a:pt x="2759" y="5649"/>
                </a:lnTo>
                <a:lnTo>
                  <a:pt x="2834" y="5537"/>
                </a:lnTo>
                <a:lnTo>
                  <a:pt x="2871" y="5425"/>
                </a:lnTo>
                <a:lnTo>
                  <a:pt x="2890" y="5295"/>
                </a:lnTo>
                <a:lnTo>
                  <a:pt x="2871" y="5146"/>
                </a:lnTo>
                <a:lnTo>
                  <a:pt x="2834" y="5034"/>
                </a:lnTo>
                <a:lnTo>
                  <a:pt x="2759" y="4922"/>
                </a:lnTo>
                <a:lnTo>
                  <a:pt x="2685" y="4829"/>
                </a:lnTo>
                <a:lnTo>
                  <a:pt x="5126" y="4829"/>
                </a:lnTo>
                <a:lnTo>
                  <a:pt x="5033" y="4922"/>
                </a:lnTo>
                <a:lnTo>
                  <a:pt x="4977" y="5034"/>
                </a:lnTo>
                <a:lnTo>
                  <a:pt x="4940" y="5164"/>
                </a:lnTo>
                <a:lnTo>
                  <a:pt x="4921" y="5295"/>
                </a:lnTo>
                <a:lnTo>
                  <a:pt x="4940" y="5425"/>
                </a:lnTo>
                <a:lnTo>
                  <a:pt x="4977" y="5556"/>
                </a:lnTo>
                <a:lnTo>
                  <a:pt x="5033" y="5649"/>
                </a:lnTo>
                <a:lnTo>
                  <a:pt x="5126" y="5742"/>
                </a:lnTo>
                <a:lnTo>
                  <a:pt x="5220" y="5817"/>
                </a:lnTo>
                <a:lnTo>
                  <a:pt x="5313" y="5891"/>
                </a:lnTo>
                <a:lnTo>
                  <a:pt x="5443" y="5928"/>
                </a:lnTo>
                <a:lnTo>
                  <a:pt x="5704" y="5928"/>
                </a:lnTo>
                <a:lnTo>
                  <a:pt x="5816" y="5891"/>
                </a:lnTo>
                <a:lnTo>
                  <a:pt x="5928" y="5835"/>
                </a:lnTo>
                <a:lnTo>
                  <a:pt x="6021" y="5742"/>
                </a:lnTo>
                <a:lnTo>
                  <a:pt x="6114" y="5649"/>
                </a:lnTo>
                <a:lnTo>
                  <a:pt x="6170" y="5537"/>
                </a:lnTo>
                <a:lnTo>
                  <a:pt x="6208" y="5425"/>
                </a:lnTo>
                <a:lnTo>
                  <a:pt x="6226" y="5295"/>
                </a:lnTo>
                <a:lnTo>
                  <a:pt x="6208" y="5183"/>
                </a:lnTo>
                <a:lnTo>
                  <a:pt x="6189" y="5108"/>
                </a:lnTo>
                <a:lnTo>
                  <a:pt x="6170" y="5015"/>
                </a:lnTo>
                <a:lnTo>
                  <a:pt x="6114" y="4940"/>
                </a:lnTo>
                <a:lnTo>
                  <a:pt x="6077" y="4866"/>
                </a:lnTo>
                <a:lnTo>
                  <a:pt x="6003" y="4810"/>
                </a:lnTo>
                <a:lnTo>
                  <a:pt x="5928" y="4754"/>
                </a:lnTo>
                <a:lnTo>
                  <a:pt x="5853" y="4698"/>
                </a:lnTo>
                <a:lnTo>
                  <a:pt x="5928" y="4419"/>
                </a:lnTo>
                <a:lnTo>
                  <a:pt x="5928" y="4363"/>
                </a:lnTo>
                <a:lnTo>
                  <a:pt x="5928" y="4288"/>
                </a:lnTo>
                <a:lnTo>
                  <a:pt x="5891" y="4232"/>
                </a:lnTo>
                <a:lnTo>
                  <a:pt x="5872" y="4176"/>
                </a:lnTo>
                <a:lnTo>
                  <a:pt x="5816" y="4139"/>
                </a:lnTo>
                <a:lnTo>
                  <a:pt x="5779" y="4102"/>
                </a:lnTo>
                <a:lnTo>
                  <a:pt x="5723" y="4083"/>
                </a:lnTo>
                <a:lnTo>
                  <a:pt x="2536" y="4083"/>
                </a:lnTo>
                <a:lnTo>
                  <a:pt x="2461" y="3710"/>
                </a:lnTo>
                <a:lnTo>
                  <a:pt x="5853" y="3710"/>
                </a:lnTo>
                <a:lnTo>
                  <a:pt x="5947" y="3692"/>
                </a:lnTo>
                <a:lnTo>
                  <a:pt x="6040" y="3654"/>
                </a:lnTo>
                <a:lnTo>
                  <a:pt x="6096" y="3580"/>
                </a:lnTo>
                <a:lnTo>
                  <a:pt x="6133" y="3487"/>
                </a:lnTo>
                <a:lnTo>
                  <a:pt x="6674" y="1082"/>
                </a:lnTo>
                <a:lnTo>
                  <a:pt x="6692" y="1007"/>
                </a:lnTo>
                <a:lnTo>
                  <a:pt x="6674" y="952"/>
                </a:lnTo>
                <a:lnTo>
                  <a:pt x="6655" y="896"/>
                </a:lnTo>
                <a:lnTo>
                  <a:pt x="6618" y="840"/>
                </a:lnTo>
                <a:lnTo>
                  <a:pt x="6580" y="802"/>
                </a:lnTo>
                <a:lnTo>
                  <a:pt x="6524" y="765"/>
                </a:lnTo>
                <a:lnTo>
                  <a:pt x="6469" y="747"/>
                </a:lnTo>
                <a:lnTo>
                  <a:pt x="1846" y="747"/>
                </a:lnTo>
                <a:lnTo>
                  <a:pt x="1753" y="225"/>
                </a:lnTo>
                <a:lnTo>
                  <a:pt x="1715" y="131"/>
                </a:lnTo>
                <a:lnTo>
                  <a:pt x="1641" y="57"/>
                </a:lnTo>
                <a:lnTo>
                  <a:pt x="1566" y="20"/>
                </a:lnTo>
                <a:lnTo>
                  <a:pt x="1473"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F12BB0DB-EB17-8F1E-D33C-755A4B3C861B}"/>
              </a:ext>
            </a:extLst>
          </p:cNvPr>
          <p:cNvSpPr txBox="1"/>
          <p:nvPr/>
        </p:nvSpPr>
        <p:spPr>
          <a:xfrm>
            <a:off x="918864" y="1468118"/>
            <a:ext cx="10502728" cy="3785652"/>
          </a:xfrm>
          <a:prstGeom prst="rect">
            <a:avLst/>
          </a:prstGeom>
          <a:noFill/>
        </p:spPr>
        <p:txBody>
          <a:bodyPr wrap="square">
            <a:spAutoFit/>
          </a:bodyPr>
          <a:lstStyle/>
          <a:p>
            <a:r>
              <a:rPr lang="en-GB" sz="2000" b="1" dirty="0">
                <a:solidFill>
                  <a:srgbClr val="086575"/>
                </a:solidFill>
              </a:rPr>
              <a:t>Identifizieren Sie Fehlausrichtungen:</a:t>
            </a:r>
          </a:p>
          <a:p>
            <a:r>
              <a:rPr lang="en-GB" sz="2000" b="1" dirty="0">
                <a:solidFill>
                  <a:srgbClr val="086575"/>
                </a:solidFill>
              </a:rPr>
              <a:t>Überlegung: </a:t>
            </a:r>
            <a:r>
              <a:rPr lang="en-GB" sz="2000" dirty="0">
                <a:solidFill>
                  <a:srgbClr val="595959"/>
                </a:solidFill>
              </a:rPr>
              <a:t>Ermitteln Sie spezifische Bereiche, in denen die Abstimmung zwischen Marketing und Vertrieb mangelhaft sein könnte. Gibt es Lücken in der Kommunikation? Stimmen die Marketingbotschaften mit den Verkaufsargumenten Ihres Vertriebsteams überein?</a:t>
            </a:r>
          </a:p>
          <a:p>
            <a:r>
              <a:rPr lang="en-GB" sz="2000" b="1" dirty="0">
                <a:solidFill>
                  <a:srgbClr val="086575"/>
                </a:solidFill>
              </a:rPr>
              <a:t>Aktion: </a:t>
            </a:r>
            <a:r>
              <a:rPr lang="en-GB" sz="2000" dirty="0">
                <a:solidFill>
                  <a:srgbClr val="595959"/>
                </a:solidFill>
              </a:rPr>
              <a:t>Vollständige Überprüfung der Abstimmung von Botschaften und Zielen. </a:t>
            </a:r>
          </a:p>
          <a:p>
            <a:endParaRPr lang="en-GB" sz="2000" dirty="0">
              <a:solidFill>
                <a:srgbClr val="595959"/>
              </a:solidFill>
            </a:endParaRPr>
          </a:p>
          <a:p>
            <a:r>
              <a:rPr lang="en-GB" sz="2000" b="1" dirty="0"/>
              <a:t>Abbildung der Customer Journey</a:t>
            </a:r>
            <a:r>
              <a:rPr lang="en-GB" sz="2000" dirty="0"/>
              <a:t>:</a:t>
            </a:r>
          </a:p>
          <a:p>
            <a:r>
              <a:rPr lang="en-GB" sz="2000" b="1" dirty="0"/>
              <a:t>Überlegung: </a:t>
            </a:r>
            <a:r>
              <a:rPr lang="en-GB" sz="2000" dirty="0">
                <a:solidFill>
                  <a:srgbClr val="595959"/>
                </a:solidFill>
              </a:rPr>
              <a:t>Stellen Sie den Weg des Kunden vom ersten Kontakt bis zum Kauf dar. Gibt es Phasen in der Reise, in denen Kunden typischerweise abspringen? Wie gut unterstützt Ihr Marketing den Verkaufsprozess bei jedem Schritt?</a:t>
            </a:r>
          </a:p>
          <a:p>
            <a:r>
              <a:rPr lang="en-GB" sz="2000" b="1" dirty="0"/>
              <a:t>Aktion</a:t>
            </a:r>
            <a:r>
              <a:rPr lang="en-GB" sz="2000" dirty="0"/>
              <a:t>: </a:t>
            </a:r>
            <a:r>
              <a:rPr lang="en-GB" sz="2000" dirty="0">
                <a:solidFill>
                  <a:srgbClr val="595959"/>
                </a:solidFill>
              </a:rPr>
              <a:t>Erstellen Sie eine detaillierte Customer Journey Map, die die Berührungspunkte mit Marketing und Vertrieb enthält. Identifizieren Sie etwaige Unstimmigkeiten.</a:t>
            </a:r>
            <a:endParaRPr lang="en-GB" sz="2000" b="1" dirty="0">
              <a:solidFill>
                <a:srgbClr val="595959"/>
              </a:solidFill>
            </a:endParaRPr>
          </a:p>
        </p:txBody>
      </p:sp>
    </p:spTree>
    <p:extLst>
      <p:ext uri="{BB962C8B-B14F-4D97-AF65-F5344CB8AC3E}">
        <p14:creationId xmlns:p14="http://schemas.microsoft.com/office/powerpoint/2010/main" val="265145910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5D6DF-1E9C-94E6-D4D7-BF2C06404A0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EF26ECCA-1506-2A58-A706-45A3FF671C40}"/>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04591B2C-8DED-0110-C194-6DA94DF3084A}"/>
              </a:ext>
            </a:extLst>
          </p:cNvPr>
          <p:cNvSpPr>
            <a:spLocks noGrp="1"/>
          </p:cNvSpPr>
          <p:nvPr>
            <p:ph type="body" sz="quarter" idx="16"/>
          </p:nvPr>
        </p:nvSpPr>
        <p:spPr>
          <a:xfrm>
            <a:off x="381286" y="761603"/>
            <a:ext cx="10659020" cy="803654"/>
          </a:xfrm>
        </p:spPr>
        <p:txBody>
          <a:bodyPr/>
          <a:lstStyle/>
          <a:p>
            <a:r>
              <a:rPr lang="en-US" dirty="0">
                <a:solidFill>
                  <a:schemeClr val="bg1"/>
                </a:solidFill>
              </a:rPr>
              <a:t>Übung</a:t>
            </a:r>
          </a:p>
          <a:p>
            <a:endParaRPr lang="en-US" dirty="0"/>
          </a:p>
        </p:txBody>
      </p:sp>
      <p:sp>
        <p:nvSpPr>
          <p:cNvPr id="7" name="Google Shape;239;p8">
            <a:extLst>
              <a:ext uri="{FF2B5EF4-FFF2-40B4-BE49-F238E27FC236}">
                <a16:creationId xmlns:a16="http://schemas.microsoft.com/office/drawing/2014/main" id="{8A6053E4-AE58-0302-B1DB-63F7C4E8FACC}"/>
              </a:ext>
            </a:extLst>
          </p:cNvPr>
          <p:cNvSpPr/>
          <p:nvPr/>
        </p:nvSpPr>
        <p:spPr>
          <a:xfrm>
            <a:off x="8676100" y="1964864"/>
            <a:ext cx="528063" cy="467784"/>
          </a:xfrm>
          <a:custGeom>
            <a:avLst/>
            <a:gdLst/>
            <a:ahLst/>
            <a:cxnLst/>
            <a:rect l="l" t="t" r="r" b="b"/>
            <a:pathLst>
              <a:path w="6693" h="5929" extrusionOk="0">
                <a:moveTo>
                  <a:pt x="224" y="1"/>
                </a:moveTo>
                <a:lnTo>
                  <a:pt x="168" y="20"/>
                </a:lnTo>
                <a:lnTo>
                  <a:pt x="94" y="75"/>
                </a:lnTo>
                <a:lnTo>
                  <a:pt x="19" y="169"/>
                </a:lnTo>
                <a:lnTo>
                  <a:pt x="19" y="225"/>
                </a:lnTo>
                <a:lnTo>
                  <a:pt x="1" y="281"/>
                </a:lnTo>
                <a:lnTo>
                  <a:pt x="1" y="467"/>
                </a:lnTo>
                <a:lnTo>
                  <a:pt x="19" y="523"/>
                </a:lnTo>
                <a:lnTo>
                  <a:pt x="19" y="560"/>
                </a:lnTo>
                <a:lnTo>
                  <a:pt x="94" y="653"/>
                </a:lnTo>
                <a:lnTo>
                  <a:pt x="168" y="709"/>
                </a:lnTo>
                <a:lnTo>
                  <a:pt x="224" y="728"/>
                </a:lnTo>
                <a:lnTo>
                  <a:pt x="280" y="747"/>
                </a:lnTo>
                <a:lnTo>
                  <a:pt x="1100" y="747"/>
                </a:lnTo>
                <a:lnTo>
                  <a:pt x="1902" y="4717"/>
                </a:lnTo>
                <a:lnTo>
                  <a:pt x="1827" y="4773"/>
                </a:lnTo>
                <a:lnTo>
                  <a:pt x="1771" y="4829"/>
                </a:lnTo>
                <a:lnTo>
                  <a:pt x="1715" y="4903"/>
                </a:lnTo>
                <a:lnTo>
                  <a:pt x="1659" y="4978"/>
                </a:lnTo>
                <a:lnTo>
                  <a:pt x="1622" y="5052"/>
                </a:lnTo>
                <a:lnTo>
                  <a:pt x="1604" y="5127"/>
                </a:lnTo>
                <a:lnTo>
                  <a:pt x="1585" y="5220"/>
                </a:lnTo>
                <a:lnTo>
                  <a:pt x="1585" y="5313"/>
                </a:lnTo>
                <a:lnTo>
                  <a:pt x="1604" y="5444"/>
                </a:lnTo>
                <a:lnTo>
                  <a:pt x="1641" y="5556"/>
                </a:lnTo>
                <a:lnTo>
                  <a:pt x="1697" y="5649"/>
                </a:lnTo>
                <a:lnTo>
                  <a:pt x="1771" y="5742"/>
                </a:lnTo>
                <a:lnTo>
                  <a:pt x="1864" y="5817"/>
                </a:lnTo>
                <a:lnTo>
                  <a:pt x="1976" y="5872"/>
                </a:lnTo>
                <a:lnTo>
                  <a:pt x="2088" y="5910"/>
                </a:lnTo>
                <a:lnTo>
                  <a:pt x="2200" y="5928"/>
                </a:lnTo>
                <a:lnTo>
                  <a:pt x="2330" y="5928"/>
                </a:lnTo>
                <a:lnTo>
                  <a:pt x="2461" y="5891"/>
                </a:lnTo>
                <a:lnTo>
                  <a:pt x="2573" y="5835"/>
                </a:lnTo>
                <a:lnTo>
                  <a:pt x="2685" y="5761"/>
                </a:lnTo>
                <a:lnTo>
                  <a:pt x="2759" y="5649"/>
                </a:lnTo>
                <a:lnTo>
                  <a:pt x="2834" y="5537"/>
                </a:lnTo>
                <a:lnTo>
                  <a:pt x="2871" y="5425"/>
                </a:lnTo>
                <a:lnTo>
                  <a:pt x="2890" y="5295"/>
                </a:lnTo>
                <a:lnTo>
                  <a:pt x="2871" y="5146"/>
                </a:lnTo>
                <a:lnTo>
                  <a:pt x="2834" y="5034"/>
                </a:lnTo>
                <a:lnTo>
                  <a:pt x="2759" y="4922"/>
                </a:lnTo>
                <a:lnTo>
                  <a:pt x="2685" y="4829"/>
                </a:lnTo>
                <a:lnTo>
                  <a:pt x="5126" y="4829"/>
                </a:lnTo>
                <a:lnTo>
                  <a:pt x="5033" y="4922"/>
                </a:lnTo>
                <a:lnTo>
                  <a:pt x="4977" y="5034"/>
                </a:lnTo>
                <a:lnTo>
                  <a:pt x="4940" y="5164"/>
                </a:lnTo>
                <a:lnTo>
                  <a:pt x="4921" y="5295"/>
                </a:lnTo>
                <a:lnTo>
                  <a:pt x="4940" y="5425"/>
                </a:lnTo>
                <a:lnTo>
                  <a:pt x="4977" y="5556"/>
                </a:lnTo>
                <a:lnTo>
                  <a:pt x="5033" y="5649"/>
                </a:lnTo>
                <a:lnTo>
                  <a:pt x="5126" y="5742"/>
                </a:lnTo>
                <a:lnTo>
                  <a:pt x="5220" y="5817"/>
                </a:lnTo>
                <a:lnTo>
                  <a:pt x="5313" y="5891"/>
                </a:lnTo>
                <a:lnTo>
                  <a:pt x="5443" y="5928"/>
                </a:lnTo>
                <a:lnTo>
                  <a:pt x="5704" y="5928"/>
                </a:lnTo>
                <a:lnTo>
                  <a:pt x="5816" y="5891"/>
                </a:lnTo>
                <a:lnTo>
                  <a:pt x="5928" y="5835"/>
                </a:lnTo>
                <a:lnTo>
                  <a:pt x="6021" y="5742"/>
                </a:lnTo>
                <a:lnTo>
                  <a:pt x="6114" y="5649"/>
                </a:lnTo>
                <a:lnTo>
                  <a:pt x="6170" y="5537"/>
                </a:lnTo>
                <a:lnTo>
                  <a:pt x="6208" y="5425"/>
                </a:lnTo>
                <a:lnTo>
                  <a:pt x="6226" y="5295"/>
                </a:lnTo>
                <a:lnTo>
                  <a:pt x="6208" y="5183"/>
                </a:lnTo>
                <a:lnTo>
                  <a:pt x="6189" y="5108"/>
                </a:lnTo>
                <a:lnTo>
                  <a:pt x="6170" y="5015"/>
                </a:lnTo>
                <a:lnTo>
                  <a:pt x="6114" y="4940"/>
                </a:lnTo>
                <a:lnTo>
                  <a:pt x="6077" y="4866"/>
                </a:lnTo>
                <a:lnTo>
                  <a:pt x="6003" y="4810"/>
                </a:lnTo>
                <a:lnTo>
                  <a:pt x="5928" y="4754"/>
                </a:lnTo>
                <a:lnTo>
                  <a:pt x="5853" y="4698"/>
                </a:lnTo>
                <a:lnTo>
                  <a:pt x="5928" y="4419"/>
                </a:lnTo>
                <a:lnTo>
                  <a:pt x="5928" y="4363"/>
                </a:lnTo>
                <a:lnTo>
                  <a:pt x="5928" y="4288"/>
                </a:lnTo>
                <a:lnTo>
                  <a:pt x="5891" y="4232"/>
                </a:lnTo>
                <a:lnTo>
                  <a:pt x="5872" y="4176"/>
                </a:lnTo>
                <a:lnTo>
                  <a:pt x="5816" y="4139"/>
                </a:lnTo>
                <a:lnTo>
                  <a:pt x="5779" y="4102"/>
                </a:lnTo>
                <a:lnTo>
                  <a:pt x="5723" y="4083"/>
                </a:lnTo>
                <a:lnTo>
                  <a:pt x="2536" y="4083"/>
                </a:lnTo>
                <a:lnTo>
                  <a:pt x="2461" y="3710"/>
                </a:lnTo>
                <a:lnTo>
                  <a:pt x="5853" y="3710"/>
                </a:lnTo>
                <a:lnTo>
                  <a:pt x="5947" y="3692"/>
                </a:lnTo>
                <a:lnTo>
                  <a:pt x="6040" y="3654"/>
                </a:lnTo>
                <a:lnTo>
                  <a:pt x="6096" y="3580"/>
                </a:lnTo>
                <a:lnTo>
                  <a:pt x="6133" y="3487"/>
                </a:lnTo>
                <a:lnTo>
                  <a:pt x="6674" y="1082"/>
                </a:lnTo>
                <a:lnTo>
                  <a:pt x="6692" y="1007"/>
                </a:lnTo>
                <a:lnTo>
                  <a:pt x="6674" y="952"/>
                </a:lnTo>
                <a:lnTo>
                  <a:pt x="6655" y="896"/>
                </a:lnTo>
                <a:lnTo>
                  <a:pt x="6618" y="840"/>
                </a:lnTo>
                <a:lnTo>
                  <a:pt x="6580" y="802"/>
                </a:lnTo>
                <a:lnTo>
                  <a:pt x="6524" y="765"/>
                </a:lnTo>
                <a:lnTo>
                  <a:pt x="6469" y="747"/>
                </a:lnTo>
                <a:lnTo>
                  <a:pt x="1846" y="747"/>
                </a:lnTo>
                <a:lnTo>
                  <a:pt x="1753" y="225"/>
                </a:lnTo>
                <a:lnTo>
                  <a:pt x="1715" y="131"/>
                </a:lnTo>
                <a:lnTo>
                  <a:pt x="1641" y="57"/>
                </a:lnTo>
                <a:lnTo>
                  <a:pt x="1566" y="20"/>
                </a:lnTo>
                <a:lnTo>
                  <a:pt x="1473"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3C949707-89A0-2D42-801B-7C17BA96A983}"/>
              </a:ext>
            </a:extLst>
          </p:cNvPr>
          <p:cNvSpPr txBox="1"/>
          <p:nvPr/>
        </p:nvSpPr>
        <p:spPr>
          <a:xfrm>
            <a:off x="643938" y="1565257"/>
            <a:ext cx="10133716" cy="3477875"/>
          </a:xfrm>
          <a:prstGeom prst="rect">
            <a:avLst/>
          </a:prstGeom>
          <a:noFill/>
        </p:spPr>
        <p:txBody>
          <a:bodyPr wrap="square">
            <a:spAutoFit/>
          </a:bodyPr>
          <a:lstStyle/>
          <a:p>
            <a:r>
              <a:rPr lang="en-GB" sz="2000" b="1" dirty="0">
                <a:solidFill>
                  <a:srgbClr val="086575"/>
                </a:solidFill>
              </a:rPr>
              <a:t>Entwicklung von Integrationsstrategien:</a:t>
            </a:r>
          </a:p>
          <a:p>
            <a:r>
              <a:rPr lang="en-GB" sz="2000" b="1" dirty="0">
                <a:solidFill>
                  <a:srgbClr val="086575"/>
                </a:solidFill>
              </a:rPr>
              <a:t>Reflektion: </a:t>
            </a:r>
            <a:r>
              <a:rPr lang="en-GB" sz="2000" dirty="0">
                <a:solidFill>
                  <a:srgbClr val="595959"/>
                </a:solidFill>
              </a:rPr>
              <a:t>Welche Strategien können Sie auf der Grundlage Ihrer Erkenntnisse aus dem Mapping-Feedback umsetzen, um die Integration von Marketing und Vertrieb zu verbessern?</a:t>
            </a:r>
          </a:p>
          <a:p>
            <a:endParaRPr lang="en-GB" sz="2000" dirty="0">
              <a:solidFill>
                <a:srgbClr val="595959"/>
              </a:solidFill>
            </a:endParaRPr>
          </a:p>
          <a:p>
            <a:r>
              <a:rPr lang="en-GB" sz="2000" b="1" dirty="0">
                <a:solidFill>
                  <a:srgbClr val="086575"/>
                </a:solidFill>
              </a:rPr>
              <a:t>Aktion: </a:t>
            </a:r>
          </a:p>
          <a:p>
            <a:pPr marL="342900" indent="-342900">
              <a:buFont typeface="Arial" panose="020B0604020202020204" pitchFamily="34" charset="0"/>
              <a:buChar char="•"/>
            </a:pPr>
            <a:r>
              <a:rPr lang="en-GB" sz="2000" dirty="0">
                <a:solidFill>
                  <a:srgbClr val="595959"/>
                </a:solidFill>
              </a:rPr>
              <a:t>Entwickeln Sie einen Plan, der integrierte Technologielösungen (z. B. CRM-Systeme) oder Schulungen zur Schaffung eines einheitlichen Kundenerlebnisses umfassen kann.</a:t>
            </a:r>
          </a:p>
          <a:p>
            <a:pPr marL="342900" indent="-342900">
              <a:buFont typeface="Arial" panose="020B0604020202020204" pitchFamily="34" charset="0"/>
              <a:buChar char="•"/>
            </a:pPr>
            <a:r>
              <a:rPr lang="en-GB" sz="2000" dirty="0">
                <a:solidFill>
                  <a:srgbClr val="595959"/>
                </a:solidFill>
              </a:rPr>
              <a:t>Setzen Sie messbare Ziele auf der Grundlage Ihrer Integrationsstrategien. Dazu könnten verbesserte Lead-Konversionsraten, eine höhere Kundenbindung oder konsistentere Upselling-Ergebnisse gehören. Überprüfen Sie diese Metriken regelmäßig und passen Sie Ihre Strategien bei Bedarf an, um die Integration weiter zu verbessern.</a:t>
            </a:r>
          </a:p>
        </p:txBody>
      </p:sp>
    </p:spTree>
    <p:extLst>
      <p:ext uri="{BB962C8B-B14F-4D97-AF65-F5344CB8AC3E}">
        <p14:creationId xmlns:p14="http://schemas.microsoft.com/office/powerpoint/2010/main" val="76442063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882684" y="2254892"/>
            <a:ext cx="6167692" cy="837258"/>
          </a:xfrm>
        </p:spPr>
        <p:txBody>
          <a:bodyPr>
            <a:noAutofit/>
          </a:bodyPr>
          <a:lstStyle/>
          <a:p>
            <a:r>
              <a:rPr lang="en-US" sz="2800" dirty="0"/>
              <a:t>Herzlichen Glückwunsch zum Abschluss von Modul 9</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2" name="Freeform 1">
            <a:extLst>
              <a:ext uri="{FF2B5EF4-FFF2-40B4-BE49-F238E27FC236}">
                <a16:creationId xmlns:a16="http://schemas.microsoft.com/office/drawing/2014/main" id="{E9824104-FDAB-A720-0EDA-61E965DCF598}"/>
              </a:ext>
            </a:extLst>
          </p:cNvPr>
          <p:cNvSpPr/>
          <p:nvPr/>
        </p:nvSpPr>
        <p:spPr>
          <a:xfrm>
            <a:off x="-62848" y="4871807"/>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434893" y="4933961"/>
            <a:ext cx="5918312" cy="679345"/>
          </a:xfrm>
        </p:spPr>
        <p:txBody>
          <a:bodyPr/>
          <a:lstStyle/>
          <a:p>
            <a:pPr marL="0" indent="0">
              <a:buNone/>
            </a:pPr>
            <a:r>
              <a:rPr lang="en-US" sz="4000" b="1" dirty="0">
                <a:solidFill>
                  <a:schemeClr val="bg1"/>
                </a:solidFill>
              </a:rPr>
              <a:t>www.mosaic4investing.eu</a:t>
            </a:r>
          </a:p>
          <a:p>
            <a:endParaRPr lang="en-US" sz="3200" dirty="0"/>
          </a:p>
        </p:txBody>
      </p:sp>
      <p:sp>
        <p:nvSpPr>
          <p:cNvPr id="4" name="Text Placeholder 18">
            <a:extLst>
              <a:ext uri="{FF2B5EF4-FFF2-40B4-BE49-F238E27FC236}">
                <a16:creationId xmlns:a16="http://schemas.microsoft.com/office/drawing/2014/main" id="{6ACD3EE0-88DB-344E-CC85-D9C6C7567810}"/>
              </a:ext>
            </a:extLst>
          </p:cNvPr>
          <p:cNvSpPr txBox="1">
            <a:spLocks/>
          </p:cNvSpPr>
          <p:nvPr/>
        </p:nvSpPr>
        <p:spPr>
          <a:xfrm>
            <a:off x="868272" y="3250838"/>
            <a:ext cx="6852183" cy="73114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t>Als nächstes folgt Modul 10 Betriebs- und Ressourcenmanagement: Maximierung der Effizienz und Skalierbarkeit von Geschäftsabläufen</a:t>
            </a:r>
            <a:endParaRPr lang="en-US" sz="2400" dirty="0"/>
          </a:p>
        </p:txBody>
      </p:sp>
      <p:sp>
        <p:nvSpPr>
          <p:cNvPr id="6" name="Text Placeholder 5">
            <a:extLst>
              <a:ext uri="{FF2B5EF4-FFF2-40B4-BE49-F238E27FC236}">
                <a16:creationId xmlns:a16="http://schemas.microsoft.com/office/drawing/2014/main" id="{584A870D-BA64-6FB5-F8CA-E669277AF746}"/>
              </a:ext>
            </a:extLst>
          </p:cNvPr>
          <p:cNvSpPr>
            <a:spLocks noGrp="1"/>
          </p:cNvSpPr>
          <p:nvPr>
            <p:ph type="body" sz="quarter" idx="19"/>
          </p:nvPr>
        </p:nvSpPr>
        <p:spPr>
          <a:xfrm>
            <a:off x="882684" y="4140666"/>
            <a:ext cx="3195486" cy="731140"/>
          </a:xfrm>
        </p:spPr>
        <p:txBody>
          <a:bodyPr/>
          <a:lstStyle/>
          <a:p>
            <a:endParaRPr lang="en-IE" dirty="0"/>
          </a:p>
        </p:txBody>
      </p:sp>
    </p:spTree>
    <p:extLst>
      <p:ext uri="{BB962C8B-B14F-4D97-AF65-F5344CB8AC3E}">
        <p14:creationId xmlns:p14="http://schemas.microsoft.com/office/powerpoint/2010/main" val="4169825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3363029" y="1443662"/>
            <a:ext cx="7953438" cy="3849918"/>
          </a:xfrm>
        </p:spPr>
        <p:txBody>
          <a:bodyPr/>
          <a:lstStyle/>
          <a:p>
            <a:pPr marL="0" indent="0"/>
            <a:r>
              <a:rPr lang="en-GB" sz="2000" dirty="0"/>
              <a:t>Großartiges Marketing ist facettenreich und dynamisch. Es kombiniert Kreativität, Strategie und effektive Kommunikation, um bei der Zielgruppe Anklang zu finden und bestimmte Unternehmensziele zu erreichen. Aber wie sieht gutes Marketing aus? </a:t>
            </a:r>
          </a:p>
          <a:p>
            <a:r>
              <a:rPr lang="en-GB" sz="2000" b="1" dirty="0">
                <a:solidFill>
                  <a:srgbClr val="DE0A1D"/>
                </a:solidFill>
              </a:rPr>
              <a:t>Es ist ein kundenorientierter Ansatz</a:t>
            </a:r>
          </a:p>
          <a:p>
            <a:pPr>
              <a:buFont typeface="Arial" panose="020B0604020202020204" pitchFamily="34" charset="0"/>
              <a:buChar char="•"/>
            </a:pPr>
            <a:r>
              <a:rPr lang="en-GB" sz="2000" dirty="0"/>
              <a:t>Großartiges Marketing beginnt mit einem tiefen Verständnis für die Bedürfnisse, Vorlieben und Probleme der Zielgruppe. Diese Erkenntnisse stammen aus gründlicher Marktforschung und direktem Kundenfeedback.</a:t>
            </a:r>
          </a:p>
          <a:p>
            <a:pPr>
              <a:buFont typeface="Arial" panose="020B0604020202020204" pitchFamily="34" charset="0"/>
              <a:buChar char="•"/>
            </a:pPr>
            <a:r>
              <a:rPr lang="en-GB" sz="2000" dirty="0"/>
              <a:t>Ein hohes Maß an Personalisierung und maßgeschneiderte Marketingbotschaften (Präzisionsmarketing), um die sehr spezifischen Bedürfnisse und Interessen der verschiedenen Kundensegmente zu erfüllen.</a:t>
            </a:r>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70607" y="761603"/>
            <a:ext cx="9632553" cy="803654"/>
          </a:xfrm>
        </p:spPr>
        <p:txBody>
          <a:bodyPr/>
          <a:lstStyle/>
          <a:p>
            <a:r>
              <a:rPr lang="en-US" dirty="0">
                <a:solidFill>
                  <a:schemeClr val="bg1"/>
                </a:solidFill>
              </a:rPr>
              <a:t>Wie sieht gutes Marketing aus?</a:t>
            </a:r>
            <a:endParaRPr lang="en-US" dirty="0"/>
          </a:p>
        </p:txBody>
      </p:sp>
      <p:pic>
        <p:nvPicPr>
          <p:cNvPr id="3" name="Picture 5" descr="Close up of bullseye">
            <a:extLst>
              <a:ext uri="{FF2B5EF4-FFF2-40B4-BE49-F238E27FC236}">
                <a16:creationId xmlns:a16="http://schemas.microsoft.com/office/drawing/2014/main" id="{549DACD0-821D-3575-982C-F291F5A0DCEC}"/>
              </a:ext>
            </a:extLst>
          </p:cNvPr>
          <p:cNvPicPr>
            <a:picLocks noChangeAspect="1"/>
          </p:cNvPicPr>
          <p:nvPr/>
        </p:nvPicPr>
        <p:blipFill>
          <a:blip r:embed="rId2"/>
          <a:srcRect l="10571" r="35695"/>
          <a:stretch/>
        </p:blipFill>
        <p:spPr>
          <a:xfrm>
            <a:off x="525102" y="1744727"/>
            <a:ext cx="2758147" cy="3422009"/>
          </a:xfrm>
          <a:prstGeom prst="rect">
            <a:avLst/>
          </a:prstGeom>
        </p:spPr>
      </p:pic>
    </p:spTree>
    <p:extLst>
      <p:ext uri="{BB962C8B-B14F-4D97-AF65-F5344CB8AC3E}">
        <p14:creationId xmlns:p14="http://schemas.microsoft.com/office/powerpoint/2010/main" val="870711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80646" y="1620642"/>
            <a:ext cx="4884984" cy="3849918"/>
          </a:xfrm>
        </p:spPr>
        <p:txBody>
          <a:bodyPr/>
          <a:lstStyle/>
          <a:p>
            <a:r>
              <a:rPr lang="en-GB" sz="2000" b="1" dirty="0">
                <a:solidFill>
                  <a:srgbClr val="DE0A1D"/>
                </a:solidFill>
              </a:rPr>
              <a:t>Klare und überzeugende Botschaften</a:t>
            </a:r>
          </a:p>
          <a:p>
            <a:pPr>
              <a:buFont typeface="Arial" panose="020B0604020202020204" pitchFamily="34" charset="0"/>
              <a:buChar char="•"/>
            </a:pPr>
            <a:r>
              <a:rPr lang="en-GB" sz="2000" b="1" dirty="0"/>
              <a:t>Wertversprechen</a:t>
            </a:r>
            <a:r>
              <a:rPr lang="en-GB" sz="2000" dirty="0"/>
              <a:t>: Wirksames Marketing formuliert ein klares Wertversprechen, das erklärt, warum ein Produkt oder eine Dienstleistung die beste Lösung für das Problem des Kunden ist.</a:t>
            </a:r>
          </a:p>
          <a:p>
            <a:pPr>
              <a:buFont typeface="Arial" panose="020B0604020202020204" pitchFamily="34" charset="0"/>
              <a:buChar char="•"/>
            </a:pPr>
            <a:r>
              <a:rPr lang="en-GB" sz="2000" b="1" dirty="0"/>
              <a:t>Marken-Storytelling</a:t>
            </a:r>
            <a:r>
              <a:rPr lang="en-GB" sz="2000" dirty="0"/>
              <a:t>: Großartiges Marketing beinhaltet oft ein Storytelling, das die Menschen auf einer emotionalen Ebene anspricht und die Marke einprägsam und sympathisch macht.</a:t>
            </a:r>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70607" y="761603"/>
            <a:ext cx="9632553" cy="803654"/>
          </a:xfrm>
        </p:spPr>
        <p:txBody>
          <a:bodyPr/>
          <a:lstStyle/>
          <a:p>
            <a:r>
              <a:rPr lang="en-US" dirty="0">
                <a:solidFill>
                  <a:schemeClr val="bg1"/>
                </a:solidFill>
              </a:rPr>
              <a:t>Wie sieht gutes Marketing aus?</a:t>
            </a:r>
            <a:endParaRPr lang="en-US" dirty="0"/>
          </a:p>
        </p:txBody>
      </p:sp>
      <p:cxnSp>
        <p:nvCxnSpPr>
          <p:cNvPr id="10" name="Straight Connector 9">
            <a:extLst>
              <a:ext uri="{FF2B5EF4-FFF2-40B4-BE49-F238E27FC236}">
                <a16:creationId xmlns:a16="http://schemas.microsoft.com/office/drawing/2014/main" id="{73A3ACC7-CCE5-5B1A-8A40-9156D87FE62E}"/>
              </a:ext>
            </a:extLst>
          </p:cNvPr>
          <p:cNvCxnSpPr/>
          <p:nvPr/>
        </p:nvCxnSpPr>
        <p:spPr>
          <a:xfrm>
            <a:off x="5832113" y="1726860"/>
            <a:ext cx="53187" cy="4062636"/>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B0B78AD-1537-CB8C-5E2D-8020C0D8DF0A}"/>
              </a:ext>
            </a:extLst>
          </p:cNvPr>
          <p:cNvSpPr txBox="1"/>
          <p:nvPr/>
        </p:nvSpPr>
        <p:spPr>
          <a:xfrm>
            <a:off x="6018266" y="1565257"/>
            <a:ext cx="4911575" cy="4093428"/>
          </a:xfrm>
          <a:prstGeom prst="rect">
            <a:avLst/>
          </a:prstGeom>
          <a:noFill/>
        </p:spPr>
        <p:txBody>
          <a:bodyPr wrap="square">
            <a:spAutoFit/>
          </a:bodyPr>
          <a:lstStyle/>
          <a:p>
            <a:r>
              <a:rPr lang="en-GB" sz="2000" b="1" dirty="0">
                <a:solidFill>
                  <a:srgbClr val="DE0A1D"/>
                </a:solidFill>
              </a:rPr>
              <a:t>Konsistente Markenidentität</a:t>
            </a:r>
          </a:p>
          <a:p>
            <a:pPr marL="342900" indent="-342900">
              <a:buFont typeface="Arial" panose="020B0604020202020204" pitchFamily="34" charset="0"/>
              <a:buChar char="•"/>
            </a:pPr>
            <a:r>
              <a:rPr lang="en-GB" sz="2000" b="1" dirty="0">
                <a:solidFill>
                  <a:srgbClr val="595959"/>
                </a:solidFill>
              </a:rPr>
              <a:t>Visuelle und verbale Identität</a:t>
            </a:r>
            <a:r>
              <a:rPr lang="en-GB" sz="2000" dirty="0">
                <a:solidFill>
                  <a:srgbClr val="595959"/>
                </a:solidFill>
              </a:rPr>
              <a:t>: Die Konsistenz der visuellen Elemente (wie Logos und Farbschemata) und der verbalen Kommunikation (Tonfall und Botschaft) über alle Plattformen hinweg trägt zum Aufbau einer erkennbaren Marke bei.</a:t>
            </a:r>
          </a:p>
          <a:p>
            <a:pPr marL="342900" indent="-342900">
              <a:buFont typeface="Arial" panose="020B0604020202020204" pitchFamily="34" charset="0"/>
              <a:buChar char="•"/>
            </a:pPr>
            <a:r>
              <a:rPr lang="en-GB" sz="2000" b="1" dirty="0">
                <a:solidFill>
                  <a:srgbClr val="595959"/>
                </a:solidFill>
              </a:rPr>
              <a:t>Vertrauen und Glaubwürdigkeit</a:t>
            </a:r>
            <a:r>
              <a:rPr lang="en-GB" sz="2000" dirty="0">
                <a:solidFill>
                  <a:srgbClr val="595959"/>
                </a:solidFill>
              </a:rPr>
              <a:t>: Konsistente Qualität und Botschaften tragen dazu bei, Vertrauen bei den Kunden aufzubauen, was für langfristige Geschäftsbeziehungen entscheidend ist.</a:t>
            </a:r>
          </a:p>
        </p:txBody>
      </p:sp>
    </p:spTree>
    <p:extLst>
      <p:ext uri="{BB962C8B-B14F-4D97-AF65-F5344CB8AC3E}">
        <p14:creationId xmlns:p14="http://schemas.microsoft.com/office/powerpoint/2010/main" val="1226348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80646" y="1620642"/>
            <a:ext cx="4884984" cy="3849918"/>
          </a:xfrm>
        </p:spPr>
        <p:txBody>
          <a:bodyPr/>
          <a:lstStyle/>
          <a:p>
            <a:pPr marL="0" indent="0"/>
            <a:r>
              <a:rPr lang="en-GB" sz="2000" b="1" dirty="0">
                <a:solidFill>
                  <a:srgbClr val="DE0A1D"/>
                </a:solidFill>
              </a:rPr>
              <a:t>Soziale Verantwortung und ethische Praktiken</a:t>
            </a:r>
          </a:p>
          <a:p>
            <a:pPr>
              <a:buFont typeface="Arial" panose="020B0604020202020204" pitchFamily="34" charset="0"/>
              <a:buChar char="•"/>
            </a:pPr>
            <a:r>
              <a:rPr lang="en-GB" sz="2000" b="1" dirty="0"/>
              <a:t>Nachhaltiges Marketing</a:t>
            </a:r>
            <a:r>
              <a:rPr lang="en-GB" sz="2000" dirty="0"/>
              <a:t>, das den Schwerpunkt auf ökologische, soziale und ethische Faktoren in der Marketingpraxis legt. Die Verbraucher von heute sind eher bereit, sich mit Marken zu beschäftigen, die soziale Verantwortung zeigen.</a:t>
            </a:r>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70607" y="761603"/>
            <a:ext cx="9632553" cy="803654"/>
          </a:xfrm>
        </p:spPr>
        <p:txBody>
          <a:bodyPr/>
          <a:lstStyle/>
          <a:p>
            <a:r>
              <a:rPr lang="en-US" dirty="0">
                <a:solidFill>
                  <a:schemeClr val="bg1"/>
                </a:solidFill>
              </a:rPr>
              <a:t>Wie sieht gutes Marketing aus?</a:t>
            </a:r>
            <a:endParaRPr lang="en-US" dirty="0"/>
          </a:p>
        </p:txBody>
      </p:sp>
      <p:cxnSp>
        <p:nvCxnSpPr>
          <p:cNvPr id="10" name="Straight Connector 9">
            <a:extLst>
              <a:ext uri="{FF2B5EF4-FFF2-40B4-BE49-F238E27FC236}">
                <a16:creationId xmlns:a16="http://schemas.microsoft.com/office/drawing/2014/main" id="{73A3ACC7-CCE5-5B1A-8A40-9156D87FE62E}"/>
              </a:ext>
            </a:extLst>
          </p:cNvPr>
          <p:cNvCxnSpPr>
            <a:cxnSpLocks/>
          </p:cNvCxnSpPr>
          <p:nvPr/>
        </p:nvCxnSpPr>
        <p:spPr>
          <a:xfrm>
            <a:off x="5716534" y="1726860"/>
            <a:ext cx="20457" cy="379908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B0B78AD-1537-CB8C-5E2D-8020C0D8DF0A}"/>
              </a:ext>
            </a:extLst>
          </p:cNvPr>
          <p:cNvSpPr txBox="1"/>
          <p:nvPr/>
        </p:nvSpPr>
        <p:spPr>
          <a:xfrm>
            <a:off x="5873026" y="1620642"/>
            <a:ext cx="4884984" cy="3477875"/>
          </a:xfrm>
          <a:prstGeom prst="rect">
            <a:avLst/>
          </a:prstGeom>
          <a:noFill/>
        </p:spPr>
        <p:txBody>
          <a:bodyPr wrap="square">
            <a:spAutoFit/>
          </a:bodyPr>
          <a:lstStyle/>
          <a:p>
            <a:r>
              <a:rPr lang="en-GB" sz="2000" b="1" dirty="0">
                <a:solidFill>
                  <a:srgbClr val="DE0A1D"/>
                </a:solidFill>
              </a:rPr>
              <a:t>Integratives Marketing</a:t>
            </a:r>
          </a:p>
          <a:p>
            <a:pPr marL="342900" indent="-342900">
              <a:buFont typeface="Arial" panose="020B0604020202020204" pitchFamily="34" charset="0"/>
              <a:buChar char="•"/>
            </a:pPr>
            <a:r>
              <a:rPr lang="en-GB" sz="2000" dirty="0">
                <a:solidFill>
                  <a:srgbClr val="595959"/>
                </a:solidFill>
              </a:rPr>
              <a:t>Großartiges Marketing repräsentiert und spricht ein </a:t>
            </a:r>
            <a:r>
              <a:rPr lang="en-GB" sz="2000" b="1" dirty="0">
                <a:solidFill>
                  <a:srgbClr val="595959"/>
                </a:solidFill>
              </a:rPr>
              <a:t>vielfältiges </a:t>
            </a:r>
            <a:r>
              <a:rPr lang="en-GB" sz="2000" dirty="0">
                <a:solidFill>
                  <a:srgbClr val="595959"/>
                </a:solidFill>
              </a:rPr>
              <a:t>Publikum an und stellt sicher, dass die Markenbotschaft inklusiv ist und die verschiedenen Hintergründe und Perspektiven berücksichtigt.</a:t>
            </a:r>
          </a:p>
          <a:p>
            <a:pPr marL="342900" indent="-342900">
              <a:buFont typeface="Arial" panose="020B0604020202020204" pitchFamily="34" charset="0"/>
              <a:buChar char="•"/>
            </a:pPr>
            <a:r>
              <a:rPr lang="en-GB" sz="2000" dirty="0">
                <a:solidFill>
                  <a:srgbClr val="595959"/>
                </a:solidFill>
              </a:rPr>
              <a:t>Dies sollte eine Stärke für unterrepräsentierte Gründer sein. Verwenden Sie Ihre authentische Stimme. </a:t>
            </a:r>
          </a:p>
          <a:p>
            <a:endParaRPr lang="en-GB" sz="2000" dirty="0">
              <a:solidFill>
                <a:srgbClr val="595959"/>
              </a:solidFill>
            </a:endParaRPr>
          </a:p>
        </p:txBody>
      </p:sp>
      <p:pic>
        <p:nvPicPr>
          <p:cNvPr id="7" name="Picture 6" descr="A group of colorful hands&#10;&#10;Description automatically generated">
            <a:extLst>
              <a:ext uri="{FF2B5EF4-FFF2-40B4-BE49-F238E27FC236}">
                <a16:creationId xmlns:a16="http://schemas.microsoft.com/office/drawing/2014/main" id="{12D7A406-52D6-F194-A22B-DCD0D08A1AA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1026910" y="4729016"/>
            <a:ext cx="4258700" cy="1593857"/>
          </a:xfrm>
          <a:prstGeom prst="rect">
            <a:avLst/>
          </a:prstGeom>
        </p:spPr>
      </p:pic>
    </p:spTree>
    <p:extLst>
      <p:ext uri="{BB962C8B-B14F-4D97-AF65-F5344CB8AC3E}">
        <p14:creationId xmlns:p14="http://schemas.microsoft.com/office/powerpoint/2010/main" val="25207177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80646" y="1620642"/>
            <a:ext cx="4884984" cy="3849918"/>
          </a:xfrm>
        </p:spPr>
        <p:txBody>
          <a:bodyPr/>
          <a:lstStyle/>
          <a:p>
            <a:r>
              <a:rPr lang="en-GB" sz="2000" b="1" dirty="0">
                <a:solidFill>
                  <a:srgbClr val="DE0A1D"/>
                </a:solidFill>
              </a:rPr>
              <a:t>Innovative und anpassungsfähige Strategien</a:t>
            </a:r>
          </a:p>
          <a:p>
            <a:pPr>
              <a:buFont typeface="Arial" panose="020B0604020202020204" pitchFamily="34" charset="0"/>
              <a:buChar char="•"/>
            </a:pPr>
            <a:r>
              <a:rPr lang="en-GB" sz="2000" b="1" dirty="0"/>
              <a:t>Nutzung von Technologie</a:t>
            </a:r>
            <a:r>
              <a:rPr lang="en-GB" sz="2000" dirty="0"/>
              <a:t>: Einsatz neuester Marketingtechnologien wie KI für die Datenanalyse und automatisiertes Marketing, um Kampagnen zu optimieren und Kundeninteraktionen zu personalisieren.</a:t>
            </a:r>
          </a:p>
          <a:p>
            <a:pPr>
              <a:buFont typeface="Arial" panose="020B0604020202020204" pitchFamily="34" charset="0"/>
              <a:buChar char="•"/>
            </a:pPr>
            <a:r>
              <a:rPr lang="en-GB" sz="2000" b="1" dirty="0"/>
              <a:t>Anpassungsfähigkeit</a:t>
            </a:r>
            <a:r>
              <a:rPr lang="en-GB" sz="2000" dirty="0"/>
              <a:t>: Die Fähigkeit, Marketingstrategien auf der Grundlage von Verbrauchertrends, Chancen und Marktbedingungen rasch anzupassen.</a:t>
            </a:r>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70607" y="761603"/>
            <a:ext cx="9632553" cy="803654"/>
          </a:xfrm>
        </p:spPr>
        <p:txBody>
          <a:bodyPr/>
          <a:lstStyle/>
          <a:p>
            <a:r>
              <a:rPr lang="en-US" dirty="0">
                <a:solidFill>
                  <a:schemeClr val="bg1"/>
                </a:solidFill>
              </a:rPr>
              <a:t>Wie sieht gutes Marketing aus?</a:t>
            </a:r>
            <a:endParaRPr lang="en-US" dirty="0"/>
          </a:p>
        </p:txBody>
      </p:sp>
      <p:cxnSp>
        <p:nvCxnSpPr>
          <p:cNvPr id="10" name="Straight Connector 9">
            <a:extLst>
              <a:ext uri="{FF2B5EF4-FFF2-40B4-BE49-F238E27FC236}">
                <a16:creationId xmlns:a16="http://schemas.microsoft.com/office/drawing/2014/main" id="{73A3ACC7-CCE5-5B1A-8A40-9156D87FE62E}"/>
              </a:ext>
            </a:extLst>
          </p:cNvPr>
          <p:cNvCxnSpPr>
            <a:cxnSpLocks/>
          </p:cNvCxnSpPr>
          <p:nvPr/>
        </p:nvCxnSpPr>
        <p:spPr>
          <a:xfrm>
            <a:off x="5716534" y="1726860"/>
            <a:ext cx="0" cy="404797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B0B78AD-1537-CB8C-5E2D-8020C0D8DF0A}"/>
              </a:ext>
            </a:extLst>
          </p:cNvPr>
          <p:cNvSpPr txBox="1"/>
          <p:nvPr/>
        </p:nvSpPr>
        <p:spPr>
          <a:xfrm>
            <a:off x="5873026" y="1620642"/>
            <a:ext cx="5142732" cy="4093428"/>
          </a:xfrm>
          <a:prstGeom prst="rect">
            <a:avLst/>
          </a:prstGeom>
          <a:noFill/>
        </p:spPr>
        <p:txBody>
          <a:bodyPr wrap="square">
            <a:spAutoFit/>
          </a:bodyPr>
          <a:lstStyle/>
          <a:p>
            <a:r>
              <a:rPr lang="en-GB" sz="2000" b="1" dirty="0">
                <a:solidFill>
                  <a:srgbClr val="DE0A1D"/>
                </a:solidFill>
              </a:rPr>
              <a:t>Datengestützte Entscheidungsfindung</a:t>
            </a:r>
          </a:p>
          <a:p>
            <a:pPr marL="342900" indent="-342900">
              <a:buFont typeface="Arial" panose="020B0604020202020204" pitchFamily="34" charset="0"/>
              <a:buChar char="•"/>
            </a:pPr>
            <a:r>
              <a:rPr lang="en-GB" sz="2000" b="1" dirty="0">
                <a:solidFill>
                  <a:srgbClr val="595959"/>
                </a:solidFill>
              </a:rPr>
              <a:t>Metriken und Analysen</a:t>
            </a:r>
            <a:r>
              <a:rPr lang="en-GB" sz="2000" dirty="0">
                <a:solidFill>
                  <a:srgbClr val="595959"/>
                </a:solidFill>
              </a:rPr>
              <a:t>: Erfolgreiche Marketingkampagnen beruhen auf einer soliden Analyse. Vermarkter müssen alles messen, von Klickraten über Engagement-Metriken bis hin zur Umsatzkonversion, um zu verstehen, was funktioniert und was nicht.</a:t>
            </a:r>
          </a:p>
          <a:p>
            <a:pPr marL="342900" indent="-342900">
              <a:buFont typeface="Arial" panose="020B0604020202020204" pitchFamily="34" charset="0"/>
              <a:buChar char="•"/>
            </a:pPr>
            <a:r>
              <a:rPr lang="en-GB" sz="2000" b="1" dirty="0">
                <a:solidFill>
                  <a:srgbClr val="595959"/>
                </a:solidFill>
              </a:rPr>
              <a:t>Kontinuierliche Verbesserung</a:t>
            </a:r>
            <a:r>
              <a:rPr lang="en-GB" sz="2000" dirty="0">
                <a:solidFill>
                  <a:srgbClr val="595959"/>
                </a:solidFill>
              </a:rPr>
              <a:t>: Datengesteuerte Erkenntnisse werden genutzt, um Kampagnen kontinuierlich zu verfeinern und zu optimieren.  </a:t>
            </a:r>
            <a:endParaRPr lang="en-GB" sz="2000" dirty="0"/>
          </a:p>
          <a:p>
            <a:endParaRPr lang="en-GB" sz="2000" dirty="0">
              <a:solidFill>
                <a:srgbClr val="595959"/>
              </a:solidFill>
            </a:endParaRPr>
          </a:p>
        </p:txBody>
      </p:sp>
    </p:spTree>
    <p:extLst>
      <p:ext uri="{BB962C8B-B14F-4D97-AF65-F5344CB8AC3E}">
        <p14:creationId xmlns:p14="http://schemas.microsoft.com/office/powerpoint/2010/main" val="13755340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F89C1B-E54E-6BFF-22D6-27FC363A08B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96EE152-ADBA-519A-9676-442DB6E94692}"/>
              </a:ext>
            </a:extLst>
          </p:cNvPr>
          <p:cNvSpPr>
            <a:spLocks noGrp="1"/>
          </p:cNvSpPr>
          <p:nvPr>
            <p:ph type="body" sz="quarter" idx="18"/>
          </p:nvPr>
        </p:nvSpPr>
        <p:spPr>
          <a:xfrm>
            <a:off x="5248732" y="1726860"/>
            <a:ext cx="5182202" cy="3849918"/>
          </a:xfrm>
        </p:spPr>
        <p:txBody>
          <a:bodyPr/>
          <a:lstStyle/>
          <a:p>
            <a:endParaRPr lang="en-US" sz="100" dirty="0"/>
          </a:p>
          <a:p>
            <a:endParaRPr lang="en-US" dirty="0"/>
          </a:p>
          <a:p>
            <a:endParaRPr lang="en-US" dirty="0"/>
          </a:p>
        </p:txBody>
      </p:sp>
      <p:sp>
        <p:nvSpPr>
          <p:cNvPr id="2" name="Freeform 1">
            <a:extLst>
              <a:ext uri="{FF2B5EF4-FFF2-40B4-BE49-F238E27FC236}">
                <a16:creationId xmlns:a16="http://schemas.microsoft.com/office/drawing/2014/main" id="{83465B48-4BE4-2147-9CEE-595844EE8D25}"/>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BFBF5690-391B-222E-C437-9E928A86D5B8}"/>
              </a:ext>
            </a:extLst>
          </p:cNvPr>
          <p:cNvSpPr>
            <a:spLocks noGrp="1"/>
          </p:cNvSpPr>
          <p:nvPr>
            <p:ph type="body" sz="quarter" idx="16"/>
          </p:nvPr>
        </p:nvSpPr>
        <p:spPr>
          <a:xfrm>
            <a:off x="491706" y="761603"/>
            <a:ext cx="9939228" cy="803654"/>
          </a:xfrm>
        </p:spPr>
        <p:txBody>
          <a:bodyPr/>
          <a:lstStyle/>
          <a:p>
            <a:r>
              <a:rPr lang="en-US" sz="2800" dirty="0">
                <a:solidFill>
                  <a:schemeClr val="bg1"/>
                </a:solidFill>
              </a:rPr>
              <a:t>Entwicklung eines großartigen Marketingplans</a:t>
            </a:r>
            <a:endParaRPr lang="en-US" sz="2800" dirty="0"/>
          </a:p>
        </p:txBody>
      </p:sp>
      <p:sp>
        <p:nvSpPr>
          <p:cNvPr id="6" name="TextBox 5">
            <a:extLst>
              <a:ext uri="{FF2B5EF4-FFF2-40B4-BE49-F238E27FC236}">
                <a16:creationId xmlns:a16="http://schemas.microsoft.com/office/drawing/2014/main" id="{51CCE110-940B-6A44-7DB4-C4263A380C95}"/>
              </a:ext>
            </a:extLst>
          </p:cNvPr>
          <p:cNvSpPr txBox="1"/>
          <p:nvPr/>
        </p:nvSpPr>
        <p:spPr>
          <a:xfrm>
            <a:off x="687528" y="1502852"/>
            <a:ext cx="8188051" cy="3485570"/>
          </a:xfrm>
          <a:prstGeom prst="rect">
            <a:avLst/>
          </a:prstGeom>
          <a:noFill/>
        </p:spPr>
        <p:txBody>
          <a:bodyPr wrap="square" rtlCol="0">
            <a:spAutoFit/>
          </a:bodyPr>
          <a:lstStyle/>
          <a:p>
            <a:r>
              <a:rPr lang="en-GB" dirty="0">
                <a:solidFill>
                  <a:srgbClr val="595959"/>
                </a:solidFill>
              </a:rPr>
              <a:t>Erfolgreiche Marketingpläne beruhen auf den vier P's des Marketings:</a:t>
            </a:r>
          </a:p>
          <a:p>
            <a:endParaRPr lang="en-GB" sz="1000" dirty="0">
              <a:solidFill>
                <a:srgbClr val="595959"/>
              </a:solidFill>
            </a:endParaRPr>
          </a:p>
          <a:p>
            <a:r>
              <a:rPr lang="en-GB" b="1" dirty="0">
                <a:solidFill>
                  <a:srgbClr val="47B5C8"/>
                </a:solidFill>
              </a:rPr>
              <a:t>Product 	</a:t>
            </a:r>
            <a:r>
              <a:rPr lang="en-GB" b="1" dirty="0">
                <a:solidFill>
                  <a:srgbClr val="DE0A1D"/>
                </a:solidFill>
              </a:rPr>
              <a:t>Price  </a:t>
            </a:r>
            <a:r>
              <a:rPr lang="en-GB" b="1" dirty="0">
                <a:solidFill>
                  <a:srgbClr val="5796D0"/>
                </a:solidFill>
              </a:rPr>
              <a:t>Place  </a:t>
            </a:r>
            <a:r>
              <a:rPr lang="en-GB" b="1" dirty="0">
                <a:solidFill>
                  <a:srgbClr val="F2A72C"/>
                </a:solidFill>
              </a:rPr>
              <a:t>Promotion</a:t>
            </a:r>
          </a:p>
          <a:p>
            <a:endParaRPr lang="en-GB" b="1" dirty="0">
              <a:solidFill>
                <a:srgbClr val="F2A72C"/>
              </a:solidFill>
            </a:endParaRPr>
          </a:p>
          <a:p>
            <a:r>
              <a:rPr lang="en-GB" dirty="0">
                <a:solidFill>
                  <a:srgbClr val="595959"/>
                </a:solidFill>
              </a:rPr>
              <a:t>Die vier P's als Rahmen können Ihnen auf dem Weg zum Marketingerfolg helfen. In den 1960er Jahren von E. Jerome McCarthy entwickelt, haben andere darauf aufgebaut, um die 7 Ps zu schaffen, die </a:t>
            </a:r>
            <a:r>
              <a:rPr lang="en-GB" dirty="0" err="1">
                <a:solidFill>
                  <a:srgbClr val="595959"/>
                </a:solidFill>
              </a:rPr>
              <a:t>jetzt</a:t>
            </a:r>
            <a:r>
              <a:rPr lang="en-GB" dirty="0">
                <a:solidFill>
                  <a:srgbClr val="595959"/>
                </a:solidFill>
              </a:rPr>
              <a:t> </a:t>
            </a:r>
            <a:r>
              <a:rPr lang="en-GB" b="1" dirty="0">
                <a:solidFill>
                  <a:schemeClr val="accent1"/>
                </a:solidFill>
              </a:rPr>
              <a:t>People</a:t>
            </a:r>
            <a:r>
              <a:rPr lang="en-GB" dirty="0">
                <a:solidFill>
                  <a:srgbClr val="595959"/>
                </a:solidFill>
              </a:rPr>
              <a:t>, </a:t>
            </a:r>
            <a:r>
              <a:rPr lang="en-GB" b="1" dirty="0">
                <a:solidFill>
                  <a:srgbClr val="DE0A1D"/>
                </a:solidFill>
              </a:rPr>
              <a:t>Process </a:t>
            </a:r>
            <a:r>
              <a:rPr lang="en-GB" dirty="0">
                <a:solidFill>
                  <a:srgbClr val="595959"/>
                </a:solidFill>
              </a:rPr>
              <a:t>und </a:t>
            </a:r>
            <a:r>
              <a:rPr lang="en-GB" b="1" dirty="0">
                <a:solidFill>
                  <a:srgbClr val="47B5C8"/>
                </a:solidFill>
              </a:rPr>
              <a:t>Physical Evidence </a:t>
            </a:r>
            <a:r>
              <a:rPr lang="en-GB" dirty="0" err="1">
                <a:solidFill>
                  <a:srgbClr val="595959"/>
                </a:solidFill>
              </a:rPr>
              <a:t>umfassen</a:t>
            </a:r>
            <a:r>
              <a:rPr lang="en-GB" b="1" dirty="0">
                <a:solidFill>
                  <a:srgbClr val="47B5C8"/>
                </a:solidFill>
              </a:rPr>
              <a:t>.</a:t>
            </a:r>
          </a:p>
          <a:p>
            <a:endParaRPr lang="en-GB" sz="1050" b="1" dirty="0">
              <a:solidFill>
                <a:srgbClr val="47B5C8"/>
              </a:solidFill>
            </a:endParaRPr>
          </a:p>
          <a:p>
            <a:endParaRPr lang="en-GB" sz="200" dirty="0">
              <a:solidFill>
                <a:srgbClr val="595959"/>
              </a:solidFill>
            </a:endParaRPr>
          </a:p>
          <a:p>
            <a:r>
              <a:rPr lang="en-GB" b="1" dirty="0">
                <a:solidFill>
                  <a:srgbClr val="595959"/>
                </a:solidFill>
              </a:rPr>
              <a:t>READ MORE </a:t>
            </a:r>
          </a:p>
          <a:p>
            <a:r>
              <a:rPr lang="en-GB" dirty="0">
                <a:hlinkClick r:id="rId2"/>
              </a:rPr>
              <a:t> (2) Geschichte des Marketing-Mix von den 4P's bis zu den 7P's | </a:t>
            </a:r>
            <a:r>
              <a:rPr lang="en-GB" dirty="0"/>
              <a:t>LinkedIn </a:t>
            </a:r>
          </a:p>
          <a:p>
            <a:r>
              <a:rPr lang="en-GB" dirty="0">
                <a:hlinkClick r:id="rId3"/>
              </a:rPr>
              <a:t>Die 7Ps des Marketing-Mix | Oxford College of Marketing</a:t>
            </a:r>
            <a:endParaRPr lang="en-GB" dirty="0">
              <a:solidFill>
                <a:srgbClr val="595959"/>
              </a:solidFill>
            </a:endParaRPr>
          </a:p>
          <a:p>
            <a:endParaRPr lang="en-GB" dirty="0">
              <a:solidFill>
                <a:srgbClr val="595959"/>
              </a:solidFill>
            </a:endParaRPr>
          </a:p>
        </p:txBody>
      </p:sp>
      <p:pic>
        <p:nvPicPr>
          <p:cNvPr id="11" name="Picture 10" descr="A red letter p with black background&#10;&#10;Description automatically generated">
            <a:extLst>
              <a:ext uri="{FF2B5EF4-FFF2-40B4-BE49-F238E27FC236}">
                <a16:creationId xmlns:a16="http://schemas.microsoft.com/office/drawing/2014/main" id="{45FA9B1B-C3A9-8A88-44EB-437C792A8562}"/>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9002852" y="1001827"/>
            <a:ext cx="1555355" cy="2182954"/>
          </a:xfrm>
          <a:prstGeom prst="rect">
            <a:avLst/>
          </a:prstGeom>
        </p:spPr>
      </p:pic>
    </p:spTree>
    <p:extLst>
      <p:ext uri="{BB962C8B-B14F-4D97-AF65-F5344CB8AC3E}">
        <p14:creationId xmlns:p14="http://schemas.microsoft.com/office/powerpoint/2010/main" val="1356914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8CAA5-20F4-FAE5-9837-879CF6E1DFC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CF47CB9-F504-C7B7-1F0D-181421A42C36}"/>
              </a:ext>
            </a:extLst>
          </p:cNvPr>
          <p:cNvSpPr>
            <a:spLocks noGrp="1"/>
          </p:cNvSpPr>
          <p:nvPr>
            <p:ph type="body" sz="quarter" idx="18"/>
          </p:nvPr>
        </p:nvSpPr>
        <p:spPr>
          <a:xfrm>
            <a:off x="5248732" y="1726860"/>
            <a:ext cx="5182202" cy="3849918"/>
          </a:xfrm>
        </p:spPr>
        <p:txBody>
          <a:bodyPr/>
          <a:lstStyle/>
          <a:p>
            <a:endParaRPr lang="en-US" sz="100" dirty="0"/>
          </a:p>
          <a:p>
            <a:endParaRPr lang="en-US" dirty="0"/>
          </a:p>
          <a:p>
            <a:endParaRPr lang="en-US" dirty="0"/>
          </a:p>
        </p:txBody>
      </p:sp>
      <p:sp>
        <p:nvSpPr>
          <p:cNvPr id="2" name="Freeform 1">
            <a:extLst>
              <a:ext uri="{FF2B5EF4-FFF2-40B4-BE49-F238E27FC236}">
                <a16:creationId xmlns:a16="http://schemas.microsoft.com/office/drawing/2014/main" id="{DE1A1FA3-F52C-3CF0-368B-EF10C4FAED0A}"/>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F16ED45-0E80-08E5-8343-DB8378DD9C70}"/>
              </a:ext>
            </a:extLst>
          </p:cNvPr>
          <p:cNvSpPr>
            <a:spLocks noGrp="1"/>
          </p:cNvSpPr>
          <p:nvPr>
            <p:ph type="body" sz="quarter" idx="16"/>
          </p:nvPr>
        </p:nvSpPr>
        <p:spPr>
          <a:xfrm>
            <a:off x="491706" y="761603"/>
            <a:ext cx="9939228" cy="803654"/>
          </a:xfrm>
        </p:spPr>
        <p:txBody>
          <a:bodyPr/>
          <a:lstStyle/>
          <a:p>
            <a:r>
              <a:rPr lang="en-US" dirty="0">
                <a:solidFill>
                  <a:schemeClr val="bg1"/>
                </a:solidFill>
              </a:rPr>
              <a:t>Das erste P: Produkt</a:t>
            </a:r>
          </a:p>
        </p:txBody>
      </p:sp>
      <p:sp>
        <p:nvSpPr>
          <p:cNvPr id="3" name="TextBox 2">
            <a:extLst>
              <a:ext uri="{FF2B5EF4-FFF2-40B4-BE49-F238E27FC236}">
                <a16:creationId xmlns:a16="http://schemas.microsoft.com/office/drawing/2014/main" id="{3CB322BA-6CCD-D035-3D5E-27D22C12ACCB}"/>
              </a:ext>
            </a:extLst>
          </p:cNvPr>
          <p:cNvSpPr txBox="1"/>
          <p:nvPr/>
        </p:nvSpPr>
        <p:spPr>
          <a:xfrm>
            <a:off x="1056244" y="1674576"/>
            <a:ext cx="9763134" cy="3785652"/>
          </a:xfrm>
          <a:prstGeom prst="rect">
            <a:avLst/>
          </a:prstGeom>
          <a:noFill/>
        </p:spPr>
        <p:txBody>
          <a:bodyPr wrap="square" rtlCol="0">
            <a:spAutoFit/>
          </a:bodyPr>
          <a:lstStyle/>
          <a:p>
            <a:r>
              <a:rPr lang="en-GB" sz="2000" dirty="0">
                <a:solidFill>
                  <a:srgbClr val="595959"/>
                </a:solidFill>
              </a:rPr>
              <a:t>Ihr Produkt ist das, was Sie zu verkaufen haben, und die einzigartigen Merkmale, die Ihr Produkt bietet, unterscheiden Sie von Ihrer Konkurrenz.</a:t>
            </a:r>
          </a:p>
          <a:p>
            <a:endParaRPr lang="en-GB" sz="2000" dirty="0">
              <a:solidFill>
                <a:srgbClr val="595959"/>
              </a:solidFill>
            </a:endParaRPr>
          </a:p>
          <a:p>
            <a:r>
              <a:rPr lang="en-GB" sz="2000" dirty="0">
                <a:solidFill>
                  <a:srgbClr val="595959"/>
                </a:solidFill>
              </a:rPr>
              <a:t>Ihr Produkt kann viele Formen annehmen.  Vielleicht ist es ein physisches </a:t>
            </a:r>
          </a:p>
          <a:p>
            <a:r>
              <a:rPr lang="en-GB" sz="2000" dirty="0">
                <a:solidFill>
                  <a:srgbClr val="595959"/>
                </a:solidFill>
              </a:rPr>
              <a:t>Produkt, ein digitales Produkt oder vielleicht bieten Sie eine Dienstleistung, eine Veranstaltung oder ein Erlebnis an.</a:t>
            </a:r>
          </a:p>
          <a:p>
            <a:endParaRPr lang="en-GB" sz="2000" dirty="0">
              <a:solidFill>
                <a:srgbClr val="595959"/>
              </a:solidFill>
            </a:endParaRPr>
          </a:p>
          <a:p>
            <a:r>
              <a:rPr lang="en-GB" sz="2000" dirty="0">
                <a:solidFill>
                  <a:srgbClr val="595959"/>
                </a:solidFill>
              </a:rPr>
              <a:t>Löst Ihr Produkt ein Problem?  Machen Sie sich klar, warum jemand Ihr Produkt kaufen möchte.  </a:t>
            </a:r>
          </a:p>
          <a:p>
            <a:endParaRPr lang="en-GB" sz="2000" dirty="0">
              <a:solidFill>
                <a:srgbClr val="595959"/>
              </a:solidFill>
            </a:endParaRPr>
          </a:p>
          <a:p>
            <a:r>
              <a:rPr lang="en-GB" sz="2000" dirty="0">
                <a:solidFill>
                  <a:srgbClr val="595959"/>
                </a:solidFill>
              </a:rPr>
              <a:t>Überlegen Sie, wie Sie Ihr Produkt, die Verpackung, das Design, die Nachhaltigkeit usw. präsentieren.</a:t>
            </a:r>
            <a:endParaRPr lang="en-IE" sz="2000" dirty="0">
              <a:solidFill>
                <a:srgbClr val="595959"/>
              </a:solidFill>
            </a:endParaRPr>
          </a:p>
        </p:txBody>
      </p:sp>
      <p:pic>
        <p:nvPicPr>
          <p:cNvPr id="7" name="Graphic 6" descr="Shopping cart with solid fill">
            <a:extLst>
              <a:ext uri="{FF2B5EF4-FFF2-40B4-BE49-F238E27FC236}">
                <a16:creationId xmlns:a16="http://schemas.microsoft.com/office/drawing/2014/main" id="{57E92FE9-77E0-ABA8-251A-27C87D046A9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6853" y="319545"/>
            <a:ext cx="1509623" cy="1509623"/>
          </a:xfrm>
          <a:prstGeom prst="rect">
            <a:avLst/>
          </a:prstGeom>
        </p:spPr>
      </p:pic>
    </p:spTree>
    <p:extLst>
      <p:ext uri="{BB962C8B-B14F-4D97-AF65-F5344CB8AC3E}">
        <p14:creationId xmlns:p14="http://schemas.microsoft.com/office/powerpoint/2010/main" val="914195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65E0A-C00A-7D00-B7BC-37A8CCD21C4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156BA38-1B8F-5564-C7FF-A8B937C2A8F4}"/>
              </a:ext>
            </a:extLst>
          </p:cNvPr>
          <p:cNvSpPr>
            <a:spLocks noGrp="1"/>
          </p:cNvSpPr>
          <p:nvPr>
            <p:ph type="body" sz="quarter" idx="18"/>
          </p:nvPr>
        </p:nvSpPr>
        <p:spPr>
          <a:xfrm>
            <a:off x="5248732" y="1726860"/>
            <a:ext cx="5182202" cy="3849918"/>
          </a:xfrm>
        </p:spPr>
        <p:txBody>
          <a:bodyPr/>
          <a:lstStyle/>
          <a:p>
            <a:endParaRPr lang="en-US" sz="100" dirty="0"/>
          </a:p>
          <a:p>
            <a:endParaRPr lang="en-US" dirty="0"/>
          </a:p>
          <a:p>
            <a:endParaRPr lang="en-US" dirty="0"/>
          </a:p>
        </p:txBody>
      </p:sp>
      <p:sp>
        <p:nvSpPr>
          <p:cNvPr id="2" name="Freeform 1">
            <a:extLst>
              <a:ext uri="{FF2B5EF4-FFF2-40B4-BE49-F238E27FC236}">
                <a16:creationId xmlns:a16="http://schemas.microsoft.com/office/drawing/2014/main" id="{D3B1105A-032B-BDA8-A5D3-D51B5E280B3A}"/>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4CC38F94-850E-2A90-8A76-22135D488789}"/>
              </a:ext>
            </a:extLst>
          </p:cNvPr>
          <p:cNvSpPr>
            <a:spLocks noGrp="1"/>
          </p:cNvSpPr>
          <p:nvPr>
            <p:ph type="body" sz="quarter" idx="16"/>
          </p:nvPr>
        </p:nvSpPr>
        <p:spPr>
          <a:xfrm>
            <a:off x="491706" y="761603"/>
            <a:ext cx="9939228" cy="803654"/>
          </a:xfrm>
        </p:spPr>
        <p:txBody>
          <a:bodyPr/>
          <a:lstStyle/>
          <a:p>
            <a:r>
              <a:rPr lang="en-US" dirty="0">
                <a:solidFill>
                  <a:schemeClr val="bg1"/>
                </a:solidFill>
              </a:rPr>
              <a:t>Das zweite P: Preis</a:t>
            </a:r>
            <a:endParaRPr lang="en-US" dirty="0"/>
          </a:p>
        </p:txBody>
      </p:sp>
      <p:sp>
        <p:nvSpPr>
          <p:cNvPr id="3" name="TextBox 2">
            <a:extLst>
              <a:ext uri="{FF2B5EF4-FFF2-40B4-BE49-F238E27FC236}">
                <a16:creationId xmlns:a16="http://schemas.microsoft.com/office/drawing/2014/main" id="{766C6189-6232-0C19-30D2-CCB71C89C3C7}"/>
              </a:ext>
            </a:extLst>
          </p:cNvPr>
          <p:cNvSpPr txBox="1"/>
          <p:nvPr/>
        </p:nvSpPr>
        <p:spPr>
          <a:xfrm>
            <a:off x="737117" y="1762552"/>
            <a:ext cx="10180451" cy="4893647"/>
          </a:xfrm>
          <a:prstGeom prst="rect">
            <a:avLst/>
          </a:prstGeom>
          <a:noFill/>
        </p:spPr>
        <p:txBody>
          <a:bodyPr wrap="square" rtlCol="0">
            <a:spAutoFit/>
          </a:bodyPr>
          <a:lstStyle/>
          <a:p>
            <a:r>
              <a:rPr lang="en-GB" sz="2400" dirty="0">
                <a:solidFill>
                  <a:srgbClr val="595959"/>
                </a:solidFill>
              </a:rPr>
              <a:t>Sie müssen einen Preis festsetzen, der es Ihnen ermöglicht, rentabel zu arbeiten, aber es gibt noch andere Faktoren zu berücksichtigen.</a:t>
            </a:r>
          </a:p>
          <a:p>
            <a:endParaRPr lang="en-GB" sz="2400" dirty="0">
              <a:solidFill>
                <a:srgbClr val="595959"/>
              </a:solidFill>
            </a:endParaRPr>
          </a:p>
          <a:p>
            <a:r>
              <a:rPr lang="en-GB" sz="2400" dirty="0">
                <a:solidFill>
                  <a:srgbClr val="595959"/>
                </a:solidFill>
              </a:rPr>
              <a:t>Wie vermittelt der Preis die Qualität und den Wert Ihres Produkts?</a:t>
            </a:r>
          </a:p>
          <a:p>
            <a:endParaRPr lang="en-GB" sz="2400" dirty="0">
              <a:solidFill>
                <a:srgbClr val="595959"/>
              </a:solidFill>
            </a:endParaRPr>
          </a:p>
          <a:p>
            <a:r>
              <a:rPr lang="en-GB" sz="2400" dirty="0">
                <a:solidFill>
                  <a:srgbClr val="595959"/>
                </a:solidFill>
              </a:rPr>
              <a:t>Sind Ihre Zielkunden wertorientiert oder qualitätsorientiert?</a:t>
            </a:r>
          </a:p>
          <a:p>
            <a:endParaRPr lang="en-GB" sz="2400" dirty="0">
              <a:solidFill>
                <a:srgbClr val="595959"/>
              </a:solidFill>
            </a:endParaRPr>
          </a:p>
          <a:p>
            <a:r>
              <a:rPr lang="en-GB" sz="2400" dirty="0">
                <a:solidFill>
                  <a:srgbClr val="595959"/>
                </a:solidFill>
              </a:rPr>
              <a:t>Wenn Sie verschiedene Arten von Kunden bedienen, müssen Sie eine Kundensegmentierungsstrategie mit einer Preisstrategie für jedes Ihrer Kundensegmente entwickeln.</a:t>
            </a:r>
          </a:p>
          <a:p>
            <a:r>
              <a:rPr lang="en-GB" sz="2400" dirty="0">
                <a:solidFill>
                  <a:srgbClr val="595959"/>
                </a:solidFill>
              </a:rPr>
              <a:t>		</a:t>
            </a:r>
          </a:p>
          <a:p>
            <a:endParaRPr lang="en-GB" sz="2400" dirty="0">
              <a:solidFill>
                <a:srgbClr val="595959"/>
              </a:solidFill>
            </a:endParaRPr>
          </a:p>
          <a:p>
            <a:endParaRPr lang="en-IE" sz="2400" dirty="0">
              <a:solidFill>
                <a:srgbClr val="595959"/>
              </a:solidFill>
            </a:endParaRPr>
          </a:p>
        </p:txBody>
      </p:sp>
      <p:pic>
        <p:nvPicPr>
          <p:cNvPr id="7" name="Graphic 6" descr="Euro with solid fill">
            <a:extLst>
              <a:ext uri="{FF2B5EF4-FFF2-40B4-BE49-F238E27FC236}">
                <a16:creationId xmlns:a16="http://schemas.microsoft.com/office/drawing/2014/main" id="{4424A85A-A61B-81B2-7483-853D903691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16592" y="402705"/>
            <a:ext cx="1324155" cy="1324155"/>
          </a:xfrm>
          <a:prstGeom prst="rect">
            <a:avLst/>
          </a:prstGeom>
        </p:spPr>
      </p:pic>
    </p:spTree>
    <p:extLst>
      <p:ext uri="{BB962C8B-B14F-4D97-AF65-F5344CB8AC3E}">
        <p14:creationId xmlns:p14="http://schemas.microsoft.com/office/powerpoint/2010/main" val="3314336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6C6D83-F17E-F1F1-3261-E765D5BD72B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8E37C2C-5206-791B-C5C5-DA411D7CB0C6}"/>
              </a:ext>
            </a:extLst>
          </p:cNvPr>
          <p:cNvSpPr>
            <a:spLocks noGrp="1"/>
          </p:cNvSpPr>
          <p:nvPr>
            <p:ph type="body" sz="quarter" idx="18"/>
          </p:nvPr>
        </p:nvSpPr>
        <p:spPr>
          <a:xfrm>
            <a:off x="5248732" y="1726860"/>
            <a:ext cx="5182202" cy="3849918"/>
          </a:xfrm>
        </p:spPr>
        <p:txBody>
          <a:bodyPr/>
          <a:lstStyle/>
          <a:p>
            <a:endParaRPr lang="en-US" sz="100" dirty="0"/>
          </a:p>
          <a:p>
            <a:endParaRPr lang="en-US" dirty="0"/>
          </a:p>
          <a:p>
            <a:endParaRPr lang="en-US" dirty="0"/>
          </a:p>
        </p:txBody>
      </p:sp>
      <p:sp>
        <p:nvSpPr>
          <p:cNvPr id="2" name="Freeform 1">
            <a:extLst>
              <a:ext uri="{FF2B5EF4-FFF2-40B4-BE49-F238E27FC236}">
                <a16:creationId xmlns:a16="http://schemas.microsoft.com/office/drawing/2014/main" id="{956C2932-E1F5-CD00-33EC-8061B5E0765B}"/>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latin typeface="Calibri" panose="020F0502020204030204" pitchFamily="34" charset="0"/>
            </a:endParaRPr>
          </a:p>
        </p:txBody>
      </p:sp>
      <p:sp>
        <p:nvSpPr>
          <p:cNvPr id="4" name="Text Placeholder 3">
            <a:extLst>
              <a:ext uri="{FF2B5EF4-FFF2-40B4-BE49-F238E27FC236}">
                <a16:creationId xmlns:a16="http://schemas.microsoft.com/office/drawing/2014/main" id="{E78795BA-9C68-1F78-0B99-B5C5EC930A86}"/>
              </a:ext>
            </a:extLst>
          </p:cNvPr>
          <p:cNvSpPr>
            <a:spLocks noGrp="1"/>
          </p:cNvSpPr>
          <p:nvPr>
            <p:ph type="body" sz="quarter" idx="16"/>
          </p:nvPr>
        </p:nvSpPr>
        <p:spPr>
          <a:xfrm>
            <a:off x="491706" y="761603"/>
            <a:ext cx="9939228" cy="803654"/>
          </a:xfrm>
        </p:spPr>
        <p:txBody>
          <a:bodyPr/>
          <a:lstStyle/>
          <a:p>
            <a:r>
              <a:rPr lang="en-US" dirty="0">
                <a:solidFill>
                  <a:schemeClr val="bg1"/>
                </a:solidFill>
              </a:rPr>
              <a:t>Das dritte P: Ort (Place)</a:t>
            </a:r>
            <a:endParaRPr lang="en-US" dirty="0"/>
          </a:p>
        </p:txBody>
      </p:sp>
      <p:sp>
        <p:nvSpPr>
          <p:cNvPr id="3" name="TextBox 2">
            <a:extLst>
              <a:ext uri="{FF2B5EF4-FFF2-40B4-BE49-F238E27FC236}">
                <a16:creationId xmlns:a16="http://schemas.microsoft.com/office/drawing/2014/main" id="{37243889-E365-9595-71C8-E90F3EE927FE}"/>
              </a:ext>
            </a:extLst>
          </p:cNvPr>
          <p:cNvSpPr txBox="1"/>
          <p:nvPr/>
        </p:nvSpPr>
        <p:spPr>
          <a:xfrm>
            <a:off x="837919" y="1807661"/>
            <a:ext cx="9445925" cy="3785652"/>
          </a:xfrm>
          <a:prstGeom prst="rect">
            <a:avLst/>
          </a:prstGeom>
          <a:noFill/>
        </p:spPr>
        <p:txBody>
          <a:bodyPr wrap="square" rtlCol="0">
            <a:spAutoFit/>
          </a:bodyPr>
          <a:lstStyle/>
          <a:p>
            <a:r>
              <a:rPr lang="en-GB" sz="2000" dirty="0">
                <a:solidFill>
                  <a:srgbClr val="595959"/>
                </a:solidFill>
              </a:rPr>
              <a:t>Der Begriff "Ort" bezieht sich auf die Orte oder Kanäle, die Sie für den Verkauf Ihres Produkts nutzen werden.</a:t>
            </a:r>
          </a:p>
          <a:p>
            <a:endParaRPr lang="en-GB" sz="2000" dirty="0">
              <a:solidFill>
                <a:srgbClr val="595959"/>
              </a:solidFill>
            </a:endParaRPr>
          </a:p>
          <a:p>
            <a:r>
              <a:rPr lang="en-GB" sz="2000" dirty="0">
                <a:solidFill>
                  <a:srgbClr val="595959"/>
                </a:solidFill>
              </a:rPr>
              <a:t>Werden Sie einen physischen Standort haben?  Wird es sich um einen festen oder einen Pop-up-Standort handeln, oder werden Sie bei bestimmten Veranstaltungen oder Anlässen präsent sein?</a:t>
            </a:r>
          </a:p>
          <a:p>
            <a:endParaRPr lang="en-GB" sz="2000" dirty="0">
              <a:solidFill>
                <a:srgbClr val="595959"/>
              </a:solidFill>
            </a:endParaRPr>
          </a:p>
          <a:p>
            <a:r>
              <a:rPr lang="en-GB" sz="2000" dirty="0">
                <a:solidFill>
                  <a:srgbClr val="595959"/>
                </a:solidFill>
              </a:rPr>
              <a:t>Vielleicht planen Sie, online zu verkaufen. Werden Sie Ihre eigene E-Commerce-Website erstellen oder eine bestehende E-Commerce-Plattform wie Amazon oder eBay nutzen?</a:t>
            </a:r>
          </a:p>
          <a:p>
            <a:endParaRPr lang="en-GB" sz="2000" dirty="0">
              <a:solidFill>
                <a:srgbClr val="595959"/>
              </a:solidFill>
            </a:endParaRPr>
          </a:p>
          <a:p>
            <a:r>
              <a:rPr lang="en-GB" sz="2000" dirty="0">
                <a:solidFill>
                  <a:srgbClr val="595959"/>
                </a:solidFill>
              </a:rPr>
              <a:t>Planen Sie, Ihr Produkt direkt an Endverbraucher zu verkaufen, oder wird es von einem Großhändler, Vertreiber oder einer anderen dritten Partei vertrieben?</a:t>
            </a:r>
            <a:endParaRPr lang="en-IE" sz="2000" dirty="0">
              <a:solidFill>
                <a:srgbClr val="595959"/>
              </a:solidFill>
            </a:endParaRPr>
          </a:p>
        </p:txBody>
      </p:sp>
      <p:pic>
        <p:nvPicPr>
          <p:cNvPr id="7" name="Graphic 6" descr="Bullseye with solid fill">
            <a:extLst>
              <a:ext uri="{FF2B5EF4-FFF2-40B4-BE49-F238E27FC236}">
                <a16:creationId xmlns:a16="http://schemas.microsoft.com/office/drawing/2014/main" id="{ED618C2E-CE23-977F-3E01-D8537A97D6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10758" y="421107"/>
            <a:ext cx="1224951" cy="1224951"/>
          </a:xfrm>
          <a:prstGeom prst="rect">
            <a:avLst/>
          </a:prstGeom>
        </p:spPr>
      </p:pic>
    </p:spTree>
    <p:extLst>
      <p:ext uri="{BB962C8B-B14F-4D97-AF65-F5344CB8AC3E}">
        <p14:creationId xmlns:p14="http://schemas.microsoft.com/office/powerpoint/2010/main" val="14733010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3FC79-1559-7FCA-8EE7-77BC9D9B784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56F026C-CBB5-D8E4-5009-6D8AA533C2B1}"/>
              </a:ext>
            </a:extLst>
          </p:cNvPr>
          <p:cNvSpPr>
            <a:spLocks noGrp="1"/>
          </p:cNvSpPr>
          <p:nvPr>
            <p:ph type="body" sz="quarter" idx="18"/>
          </p:nvPr>
        </p:nvSpPr>
        <p:spPr>
          <a:xfrm>
            <a:off x="5248732" y="1726860"/>
            <a:ext cx="5182202" cy="3849918"/>
          </a:xfrm>
        </p:spPr>
        <p:txBody>
          <a:bodyPr/>
          <a:lstStyle/>
          <a:p>
            <a:endParaRPr lang="en-US" sz="100" dirty="0"/>
          </a:p>
          <a:p>
            <a:endParaRPr lang="en-US" dirty="0"/>
          </a:p>
          <a:p>
            <a:endParaRPr lang="en-US" dirty="0"/>
          </a:p>
        </p:txBody>
      </p:sp>
      <p:sp>
        <p:nvSpPr>
          <p:cNvPr id="2" name="Freeform 1">
            <a:extLst>
              <a:ext uri="{FF2B5EF4-FFF2-40B4-BE49-F238E27FC236}">
                <a16:creationId xmlns:a16="http://schemas.microsoft.com/office/drawing/2014/main" id="{EB2E5880-91CA-C411-EE54-40851F8952A1}"/>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685BCC84-46DF-DF46-553D-A05423A37904}"/>
              </a:ext>
            </a:extLst>
          </p:cNvPr>
          <p:cNvSpPr>
            <a:spLocks noGrp="1"/>
          </p:cNvSpPr>
          <p:nvPr>
            <p:ph type="body" sz="quarter" idx="16"/>
          </p:nvPr>
        </p:nvSpPr>
        <p:spPr>
          <a:xfrm>
            <a:off x="491706" y="761603"/>
            <a:ext cx="9939228" cy="803654"/>
          </a:xfrm>
        </p:spPr>
        <p:txBody>
          <a:bodyPr/>
          <a:lstStyle/>
          <a:p>
            <a:r>
              <a:rPr lang="en-US" sz="3200" dirty="0">
                <a:solidFill>
                  <a:schemeClr val="bg1"/>
                </a:solidFill>
              </a:rPr>
              <a:t>Das vierte P: </a:t>
            </a:r>
            <a:r>
              <a:rPr lang="en-US" sz="3200" dirty="0" err="1">
                <a:solidFill>
                  <a:schemeClr val="bg1"/>
                </a:solidFill>
              </a:rPr>
              <a:t>Kommunikation</a:t>
            </a:r>
            <a:r>
              <a:rPr lang="en-US" sz="3200" dirty="0">
                <a:solidFill>
                  <a:schemeClr val="bg1"/>
                </a:solidFill>
              </a:rPr>
              <a:t> (Promotion )</a:t>
            </a:r>
          </a:p>
        </p:txBody>
      </p:sp>
      <p:sp>
        <p:nvSpPr>
          <p:cNvPr id="3" name="TextBox 2">
            <a:extLst>
              <a:ext uri="{FF2B5EF4-FFF2-40B4-BE49-F238E27FC236}">
                <a16:creationId xmlns:a16="http://schemas.microsoft.com/office/drawing/2014/main" id="{D5A332F1-3C17-52BF-7B05-257BCB77F33E}"/>
              </a:ext>
            </a:extLst>
          </p:cNvPr>
          <p:cNvSpPr txBox="1"/>
          <p:nvPr/>
        </p:nvSpPr>
        <p:spPr>
          <a:xfrm>
            <a:off x="791024" y="1745615"/>
            <a:ext cx="9758329" cy="3785652"/>
          </a:xfrm>
          <a:prstGeom prst="rect">
            <a:avLst/>
          </a:prstGeom>
          <a:noFill/>
        </p:spPr>
        <p:txBody>
          <a:bodyPr wrap="square" rtlCol="0">
            <a:spAutoFit/>
          </a:bodyPr>
          <a:lstStyle/>
          <a:p>
            <a:r>
              <a:rPr lang="en-GB" sz="2400" dirty="0" err="1">
                <a:solidFill>
                  <a:srgbClr val="595959"/>
                </a:solidFill>
              </a:rPr>
              <a:t>Kommunikation</a:t>
            </a:r>
            <a:r>
              <a:rPr lang="en-GB" sz="2400" dirty="0">
                <a:solidFill>
                  <a:srgbClr val="595959"/>
                </a:solidFill>
              </a:rPr>
              <a:t> beschreibt, wie Sie Ihre Zielkunden auf Ihre Produkte aufmerksam machen und wie Sie Interessenten in Käufer verwandeln.</a:t>
            </a:r>
          </a:p>
          <a:p>
            <a:endParaRPr lang="en-GB" sz="2400" dirty="0">
              <a:solidFill>
                <a:srgbClr val="595959"/>
              </a:solidFill>
            </a:endParaRPr>
          </a:p>
          <a:p>
            <a:r>
              <a:rPr lang="en-GB" sz="2400" dirty="0">
                <a:solidFill>
                  <a:srgbClr val="595959"/>
                </a:solidFill>
              </a:rPr>
              <a:t>Zu den Werbestrategien können Werbung, Social Media Marketing, Influencer Marketing, Public Relations, Sponsoring, Content Marketing, Direktmarketing und Sonderangebote gehören.</a:t>
            </a:r>
          </a:p>
          <a:p>
            <a:endParaRPr lang="en-GB" sz="2400" dirty="0">
              <a:solidFill>
                <a:srgbClr val="595959"/>
              </a:solidFill>
            </a:endParaRPr>
          </a:p>
          <a:p>
            <a:r>
              <a:rPr lang="en-GB" sz="2400" dirty="0">
                <a:solidFill>
                  <a:srgbClr val="595959"/>
                </a:solidFill>
              </a:rPr>
              <a:t>Werbung kann teuer sein, und Sie müssen möglicherweise mehrere Arten von Werbung ausprobieren, bevor Sie herausfinden, was für Sie am besten funktioniert. </a:t>
            </a:r>
            <a:endParaRPr lang="en-IE" sz="2400" dirty="0">
              <a:solidFill>
                <a:srgbClr val="595959"/>
              </a:solidFill>
            </a:endParaRPr>
          </a:p>
        </p:txBody>
      </p:sp>
      <p:pic>
        <p:nvPicPr>
          <p:cNvPr id="7" name="Graphic 6" descr="Marketing with solid fill">
            <a:extLst>
              <a:ext uri="{FF2B5EF4-FFF2-40B4-BE49-F238E27FC236}">
                <a16:creationId xmlns:a16="http://schemas.microsoft.com/office/drawing/2014/main" id="{2099D8D3-4953-4069-1B2A-67B2B2A2DB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61586" y="514399"/>
            <a:ext cx="1131659" cy="1131659"/>
          </a:xfrm>
          <a:prstGeom prst="rect">
            <a:avLst/>
          </a:prstGeom>
        </p:spPr>
      </p:pic>
    </p:spTree>
    <p:extLst>
      <p:ext uri="{BB962C8B-B14F-4D97-AF65-F5344CB8AC3E}">
        <p14:creationId xmlns:p14="http://schemas.microsoft.com/office/powerpoint/2010/main" val="2366377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endParaRPr lang="en-GB" dirty="0"/>
          </a:p>
          <a:p>
            <a:r>
              <a:rPr lang="en-GB" dirty="0"/>
              <a:t>Die Beziehung zwischen Marketing und Vertrieb</a:t>
            </a:r>
          </a:p>
          <a:p>
            <a:endParaRPr lang="en-US" dirty="0"/>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788058" y="1309538"/>
            <a:ext cx="4845284" cy="4671588"/>
          </a:xfrm>
        </p:spPr>
        <p:txBody>
          <a:bodyPr/>
          <a:lstStyle/>
          <a:p>
            <a:pPr marL="0" marR="0" lvl="0" indent="0" algn="l" rtl="0">
              <a:spcBef>
                <a:spcPts val="0"/>
              </a:spcBef>
              <a:spcAft>
                <a:spcPts val="0"/>
              </a:spcAft>
              <a:buNone/>
            </a:pPr>
            <a:r>
              <a:rPr lang="en-GB" sz="2000" dirty="0">
                <a:ea typeface="Century Gothic"/>
                <a:cs typeface="Century Gothic"/>
                <a:sym typeface="Century Gothic"/>
              </a:rPr>
              <a:t>Modul 9 </a:t>
            </a:r>
            <a:r>
              <a:rPr lang="en-GB" sz="2000" b="0" i="0" u="none" strike="noStrike" dirty="0">
                <a:ea typeface="Century Gothic"/>
                <a:cs typeface="Century Gothic"/>
                <a:sym typeface="Century Gothic"/>
              </a:rPr>
              <a:t>erklärt den Unterschied zwischen Marketing und Vertrieb und bietet praktische Tools und Strategien, die aufstrebende, unterrepräsentierte </a:t>
            </a:r>
            <a:r>
              <a:rPr lang="en-GB" sz="2000" dirty="0">
                <a:ea typeface="Century Gothic"/>
                <a:cs typeface="Century Gothic"/>
                <a:sym typeface="Century Gothic"/>
              </a:rPr>
              <a:t>Gründer und </a:t>
            </a:r>
            <a:r>
              <a:rPr lang="en-GB" sz="2000" b="0" i="0" u="none" strike="noStrike" dirty="0">
                <a:ea typeface="Century Gothic"/>
                <a:cs typeface="Century Gothic"/>
                <a:sym typeface="Century Gothic"/>
              </a:rPr>
              <a:t>Unternehmer sofort für ihr Unternehmen einsetzen können.</a:t>
            </a:r>
            <a:endParaRPr lang="en-GB" sz="2000" b="0" dirty="0">
              <a:ea typeface="Calibri"/>
              <a:cs typeface="Calibri"/>
              <a:sym typeface="Calibri"/>
            </a:endParaRPr>
          </a:p>
          <a:p>
            <a:pPr marL="0" marR="0" lvl="0" indent="0" algn="l" rtl="0">
              <a:spcBef>
                <a:spcPts val="0"/>
              </a:spcBef>
              <a:spcAft>
                <a:spcPts val="0"/>
              </a:spcAft>
              <a:buNone/>
            </a:pPr>
            <a:br>
              <a:rPr lang="en-GB" sz="2000" b="0" dirty="0">
                <a:ea typeface="Calibri"/>
                <a:cs typeface="Calibri"/>
                <a:sym typeface="Calibri"/>
              </a:rPr>
            </a:br>
            <a:r>
              <a:rPr lang="en-GB" sz="2000" b="0" i="0" u="none" strike="noStrike" dirty="0">
                <a:ea typeface="Century Gothic"/>
                <a:cs typeface="Century Gothic"/>
                <a:sym typeface="Century Gothic"/>
              </a:rPr>
              <a:t>Die Lernenden können erwarten, dass sie eine strategische Marketingstrategie </a:t>
            </a:r>
            <a:r>
              <a:rPr lang="en-GB" sz="2000" dirty="0">
                <a:ea typeface="Century Gothic"/>
                <a:cs typeface="Century Gothic"/>
                <a:sym typeface="Century Gothic"/>
              </a:rPr>
              <a:t>entwickeln </a:t>
            </a:r>
            <a:r>
              <a:rPr lang="en-GB" sz="2000" b="0" i="0" u="none" strike="noStrike" dirty="0">
                <a:ea typeface="Century Gothic"/>
                <a:cs typeface="Century Gothic"/>
                <a:sym typeface="Century Gothic"/>
              </a:rPr>
              <a:t>und nützliche Instrumente für den Verkaufsabschluss entdecken.</a:t>
            </a:r>
            <a:endParaRPr lang="en-GB" sz="2000" b="0" dirty="0">
              <a:ea typeface="Calibri"/>
              <a:cs typeface="Calibri"/>
              <a:sym typeface="Calibri"/>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p:txBody>
          <a:bodyPr/>
          <a:lstStyle/>
          <a:p>
            <a:endParaRPr lang="en-US" dirty="0"/>
          </a:p>
          <a:p>
            <a:r>
              <a:rPr lang="en-US" dirty="0"/>
              <a:t>Aufbau Ihrer Marke</a:t>
            </a:r>
          </a:p>
          <a:p>
            <a:r>
              <a:rPr lang="en-US" dirty="0"/>
              <a:t> </a:t>
            </a:r>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p:txBody>
          <a:bodyPr/>
          <a:lstStyle/>
          <a:p>
            <a:endParaRPr lang="en-US" dirty="0"/>
          </a:p>
          <a:p>
            <a:r>
              <a:rPr lang="en-US" dirty="0"/>
              <a:t>Wer ist Ihr idealer Kunde?</a:t>
            </a:r>
          </a:p>
          <a:p>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p:txBody>
          <a:bodyPr/>
          <a:lstStyle/>
          <a:p>
            <a:endParaRPr lang="en-US" dirty="0"/>
          </a:p>
          <a:p>
            <a:r>
              <a:rPr lang="en-US" dirty="0"/>
              <a:t>Erstellen Sie Ihre Marketing-Toolbox</a:t>
            </a:r>
          </a:p>
          <a:p>
            <a:endParaRPr lang="en-US"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p:txBody>
          <a:bodyPr/>
          <a:lstStyle/>
          <a:p>
            <a:r>
              <a:rPr lang="en-US"/>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p:txBody>
          <a:bodyPr/>
          <a:lstStyle/>
          <a:p>
            <a:endParaRPr lang="en-US" dirty="0">
              <a:ea typeface="Calibri"/>
              <a:cs typeface="Calibri"/>
            </a:endParaRPr>
          </a:p>
          <a:p>
            <a:r>
              <a:rPr lang="en-US" dirty="0">
                <a:ea typeface="Calibri"/>
                <a:cs typeface="Calibri"/>
              </a:rPr>
              <a:t>Machen Sie den Verkauf!</a:t>
            </a:r>
            <a:endParaRPr lang="en-US" dirty="0"/>
          </a:p>
          <a:p>
            <a:endParaRPr lang="en-US" dirty="0"/>
          </a:p>
        </p:txBody>
      </p:sp>
      <p:sp>
        <p:nvSpPr>
          <p:cNvPr id="3" name="Text Placeholder 2">
            <a:extLst>
              <a:ext uri="{FF2B5EF4-FFF2-40B4-BE49-F238E27FC236}">
                <a16:creationId xmlns:a16="http://schemas.microsoft.com/office/drawing/2014/main" id="{76E7EDF8-DB58-28C6-28A1-145E68FCDB51}"/>
              </a:ext>
            </a:extLst>
          </p:cNvPr>
          <p:cNvSpPr>
            <a:spLocks noGrp="1"/>
          </p:cNvSpPr>
          <p:nvPr>
            <p:ph type="body" sz="quarter" idx="27"/>
          </p:nvPr>
        </p:nvSpPr>
        <p:spPr/>
        <p:txBody>
          <a:bodyPr/>
          <a:lstStyle/>
          <a:p>
            <a:r>
              <a:rPr lang="en-IE" dirty="0"/>
              <a:t>Modul-Übersicht</a:t>
            </a:r>
          </a:p>
        </p:txBody>
      </p:sp>
      <p:sp>
        <p:nvSpPr>
          <p:cNvPr id="4" name="TextBox 3">
            <a:extLst>
              <a:ext uri="{FF2B5EF4-FFF2-40B4-BE49-F238E27FC236}">
                <a16:creationId xmlns:a16="http://schemas.microsoft.com/office/drawing/2014/main" id="{3EAAEC16-C96A-BA8F-6B24-3B88D42DDBDF}"/>
              </a:ext>
            </a:extLst>
          </p:cNvPr>
          <p:cNvSpPr txBox="1"/>
          <p:nvPr/>
        </p:nvSpPr>
        <p:spPr>
          <a:xfrm>
            <a:off x="6795942" y="5639066"/>
            <a:ext cx="4845284" cy="400110"/>
          </a:xfrm>
          <a:prstGeom prst="rect">
            <a:avLst/>
          </a:prstGeom>
          <a:noFill/>
        </p:spPr>
        <p:txBody>
          <a:bodyPr wrap="square" rtlCol="0">
            <a:spAutoFit/>
          </a:bodyPr>
          <a:lstStyle/>
          <a:p>
            <a:r>
              <a:rPr lang="en-IE" sz="2000" dirty="0">
                <a:solidFill>
                  <a:srgbClr val="595959"/>
                </a:solidFill>
              </a:rPr>
              <a:t>Selbstreflexion und Übungen</a:t>
            </a:r>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9E938-ED98-31D5-5239-E0CC16CF96F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051C4F8-F824-222B-B184-2122D21640BF}"/>
              </a:ext>
            </a:extLst>
          </p:cNvPr>
          <p:cNvSpPr>
            <a:spLocks noGrp="1"/>
          </p:cNvSpPr>
          <p:nvPr>
            <p:ph type="body" sz="quarter" idx="18"/>
          </p:nvPr>
        </p:nvSpPr>
        <p:spPr>
          <a:xfrm>
            <a:off x="5248732" y="1726860"/>
            <a:ext cx="5182202" cy="3849918"/>
          </a:xfrm>
        </p:spPr>
        <p:txBody>
          <a:bodyPr/>
          <a:lstStyle/>
          <a:p>
            <a:endParaRPr lang="en-US" sz="100" dirty="0"/>
          </a:p>
          <a:p>
            <a:endParaRPr lang="en-US" dirty="0"/>
          </a:p>
          <a:p>
            <a:endParaRPr lang="en-US" dirty="0"/>
          </a:p>
        </p:txBody>
      </p:sp>
      <p:sp>
        <p:nvSpPr>
          <p:cNvPr id="2" name="Freeform 1">
            <a:extLst>
              <a:ext uri="{FF2B5EF4-FFF2-40B4-BE49-F238E27FC236}">
                <a16:creationId xmlns:a16="http://schemas.microsoft.com/office/drawing/2014/main" id="{E6EBA170-0D3D-3DA7-6192-4DCA51D466B7}"/>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8655AECB-75A4-0A77-DE52-F4A4FAFDFFB2}"/>
              </a:ext>
            </a:extLst>
          </p:cNvPr>
          <p:cNvSpPr>
            <a:spLocks noGrp="1"/>
          </p:cNvSpPr>
          <p:nvPr>
            <p:ph type="body" sz="quarter" idx="16"/>
          </p:nvPr>
        </p:nvSpPr>
        <p:spPr>
          <a:xfrm>
            <a:off x="491706" y="761603"/>
            <a:ext cx="9939228" cy="803654"/>
          </a:xfrm>
        </p:spPr>
        <p:txBody>
          <a:bodyPr/>
          <a:lstStyle/>
          <a:p>
            <a:r>
              <a:rPr lang="en-US" dirty="0">
                <a:solidFill>
                  <a:schemeClr val="bg1"/>
                </a:solidFill>
              </a:rPr>
              <a:t>Die vier P's wirkungsvoll einsetzen</a:t>
            </a:r>
          </a:p>
        </p:txBody>
      </p:sp>
      <p:sp>
        <p:nvSpPr>
          <p:cNvPr id="3" name="TextBox 2">
            <a:extLst>
              <a:ext uri="{FF2B5EF4-FFF2-40B4-BE49-F238E27FC236}">
                <a16:creationId xmlns:a16="http://schemas.microsoft.com/office/drawing/2014/main" id="{1E342C6A-8A69-629C-39A3-CFCFC80553F9}"/>
              </a:ext>
            </a:extLst>
          </p:cNvPr>
          <p:cNvSpPr txBox="1"/>
          <p:nvPr/>
        </p:nvSpPr>
        <p:spPr>
          <a:xfrm>
            <a:off x="741872" y="1565257"/>
            <a:ext cx="9307901" cy="3477875"/>
          </a:xfrm>
          <a:prstGeom prst="rect">
            <a:avLst/>
          </a:prstGeom>
          <a:noFill/>
        </p:spPr>
        <p:txBody>
          <a:bodyPr wrap="square" rtlCol="0">
            <a:spAutoFit/>
          </a:bodyPr>
          <a:lstStyle/>
          <a:p>
            <a:r>
              <a:rPr lang="en-GB" sz="2000" dirty="0">
                <a:solidFill>
                  <a:srgbClr val="595959"/>
                </a:solidFill>
              </a:rPr>
              <a:t>Sobald Sie die vier P's im Kontext Ihres Unternehmens betrachtet haben, können Sie sie nutzen, um einen Fahrplan für die Einführung Ihres Produkts zu erstellen.  </a:t>
            </a:r>
          </a:p>
          <a:p>
            <a:endParaRPr lang="en-GB" sz="2000" dirty="0">
              <a:solidFill>
                <a:srgbClr val="595959"/>
              </a:solidFill>
            </a:endParaRPr>
          </a:p>
          <a:p>
            <a:r>
              <a:rPr lang="en-GB" sz="2000" dirty="0">
                <a:solidFill>
                  <a:srgbClr val="595959"/>
                </a:solidFill>
              </a:rPr>
              <a:t>Es ist wichtig, dass Sie sich einige wichtige Fragen stellen.  Präsentiere ich:</a:t>
            </a:r>
          </a:p>
          <a:p>
            <a:endParaRPr lang="en-GB" sz="2000" dirty="0">
              <a:solidFill>
                <a:srgbClr val="595959"/>
              </a:solidFill>
            </a:endParaRPr>
          </a:p>
          <a:p>
            <a:r>
              <a:rPr lang="en-GB" sz="2000" b="1" dirty="0">
                <a:solidFill>
                  <a:srgbClr val="595959"/>
                </a:solidFill>
              </a:rPr>
              <a:t>Das richtige Produkt </a:t>
            </a:r>
            <a:r>
              <a:rPr lang="en-GB" sz="2000" dirty="0">
                <a:solidFill>
                  <a:srgbClr val="595959"/>
                </a:solidFill>
              </a:rPr>
              <a:t>- entspricht es einem klaren Bedarf oder Wunsch?</a:t>
            </a:r>
          </a:p>
          <a:p>
            <a:r>
              <a:rPr lang="en-GB" sz="2000" b="1" dirty="0">
                <a:solidFill>
                  <a:srgbClr val="595959"/>
                </a:solidFill>
              </a:rPr>
              <a:t>An die richtige Person </a:t>
            </a:r>
            <a:r>
              <a:rPr lang="en-GB" sz="2000" dirty="0">
                <a:solidFill>
                  <a:srgbClr val="595959"/>
                </a:solidFill>
              </a:rPr>
              <a:t>- erreiche ich die Menschen, die am ehesten bei mir kaufen würden?</a:t>
            </a:r>
          </a:p>
          <a:p>
            <a:r>
              <a:rPr lang="en-GB" sz="2000" b="1" dirty="0">
                <a:solidFill>
                  <a:srgbClr val="595959"/>
                </a:solidFill>
              </a:rPr>
              <a:t>Zum richtigen Zeitpunkt </a:t>
            </a:r>
            <a:r>
              <a:rPr lang="en-GB" sz="2000" dirty="0">
                <a:solidFill>
                  <a:srgbClr val="595959"/>
                </a:solidFill>
              </a:rPr>
              <a:t>- ist mein Zielkunde bereit, dies jetzt zu kaufen</a:t>
            </a:r>
          </a:p>
          <a:p>
            <a:r>
              <a:rPr lang="en-GB" sz="2000" b="1" dirty="0">
                <a:solidFill>
                  <a:srgbClr val="595959"/>
                </a:solidFill>
              </a:rPr>
              <a:t>Am richtigen Ort </a:t>
            </a:r>
            <a:r>
              <a:rPr lang="en-GB" sz="2000" dirty="0">
                <a:solidFill>
                  <a:srgbClr val="595959"/>
                </a:solidFill>
              </a:rPr>
              <a:t>- ist mein Produkt dort sichtbar, wo meine Zielkunden nach Lösungen wie der meinen suchen?</a:t>
            </a:r>
          </a:p>
        </p:txBody>
      </p:sp>
      <p:pic>
        <p:nvPicPr>
          <p:cNvPr id="7" name="Graphic 6" descr="Lightbulb and gear with solid fill">
            <a:extLst>
              <a:ext uri="{FF2B5EF4-FFF2-40B4-BE49-F238E27FC236}">
                <a16:creationId xmlns:a16="http://schemas.microsoft.com/office/drawing/2014/main" id="{94CCD960-C859-6423-D649-930C4E75F5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04717" y="4716871"/>
            <a:ext cx="1224484" cy="1224484"/>
          </a:xfrm>
          <a:prstGeom prst="rect">
            <a:avLst/>
          </a:prstGeom>
        </p:spPr>
      </p:pic>
    </p:spTree>
    <p:extLst>
      <p:ext uri="{BB962C8B-B14F-4D97-AF65-F5344CB8AC3E}">
        <p14:creationId xmlns:p14="http://schemas.microsoft.com/office/powerpoint/2010/main" val="4221716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168070-58C8-D0A9-1372-40BBE2497F62}"/>
              </a:ext>
            </a:extLst>
          </p:cNvPr>
          <p:cNvSpPr>
            <a:spLocks noGrp="1"/>
          </p:cNvSpPr>
          <p:nvPr>
            <p:ph type="body" sz="quarter" idx="16"/>
          </p:nvPr>
        </p:nvSpPr>
        <p:spPr/>
        <p:txBody>
          <a:bodyPr/>
          <a:lstStyle/>
          <a:p>
            <a:r>
              <a:rPr lang="en-GB" b="1" dirty="0"/>
              <a:t>WATCH</a:t>
            </a:r>
            <a:endParaRPr lang="en-IE" b="1" dirty="0"/>
          </a:p>
        </p:txBody>
      </p:sp>
      <p:sp>
        <p:nvSpPr>
          <p:cNvPr id="6" name="TextBox 5">
            <a:extLst>
              <a:ext uri="{FF2B5EF4-FFF2-40B4-BE49-F238E27FC236}">
                <a16:creationId xmlns:a16="http://schemas.microsoft.com/office/drawing/2014/main" id="{4C798C67-043E-A3F5-C458-DD708FECE499}"/>
              </a:ext>
            </a:extLst>
          </p:cNvPr>
          <p:cNvSpPr txBox="1"/>
          <p:nvPr/>
        </p:nvSpPr>
        <p:spPr>
          <a:xfrm>
            <a:off x="7061200" y="5237392"/>
            <a:ext cx="6102990" cy="400110"/>
          </a:xfrm>
          <a:prstGeom prst="rect">
            <a:avLst/>
          </a:prstGeom>
          <a:noFill/>
        </p:spPr>
        <p:txBody>
          <a:bodyPr wrap="square">
            <a:spAutoFit/>
          </a:bodyPr>
          <a:lstStyle/>
          <a:p>
            <a:r>
              <a:rPr lang="en-GB" sz="2000" b="1" dirty="0">
                <a:solidFill>
                  <a:schemeClr val="bg1"/>
                </a:solidFill>
                <a:hlinkClick r:id="rId2">
                  <a:extLst>
                    <a:ext uri="{A12FA001-AC4F-418D-AE19-62706E023703}">
                      <ahyp:hlinkClr xmlns:ahyp="http://schemas.microsoft.com/office/drawing/2018/hyperlinkcolor" val="tx"/>
                    </a:ext>
                  </a:extLst>
                </a:hlinkClick>
              </a:rPr>
              <a:t>Der Marketing-Mix und die 4Ps des Marketings</a:t>
            </a:r>
            <a:endParaRPr lang="en-IE" sz="2000" b="1" dirty="0">
              <a:solidFill>
                <a:schemeClr val="bg1"/>
              </a:solidFill>
            </a:endParaRPr>
          </a:p>
        </p:txBody>
      </p:sp>
      <p:pic>
        <p:nvPicPr>
          <p:cNvPr id="10" name="Graphic 9" descr="Arrow: Slight curve with solid fill">
            <a:extLst>
              <a:ext uri="{FF2B5EF4-FFF2-40B4-BE49-F238E27FC236}">
                <a16:creationId xmlns:a16="http://schemas.microsoft.com/office/drawing/2014/main" id="{505F2119-4BE3-A766-336A-02AB12A55D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46436" y="3054094"/>
            <a:ext cx="2556293" cy="2556293"/>
          </a:xfrm>
          <a:prstGeom prst="rect">
            <a:avLst/>
          </a:prstGeom>
        </p:spPr>
      </p:pic>
      <p:sp>
        <p:nvSpPr>
          <p:cNvPr id="12" name="Text Placeholder 11">
            <a:extLst>
              <a:ext uri="{FF2B5EF4-FFF2-40B4-BE49-F238E27FC236}">
                <a16:creationId xmlns:a16="http://schemas.microsoft.com/office/drawing/2014/main" id="{4A81AC97-F606-651A-E66A-ABF6F1AD6836}"/>
              </a:ext>
            </a:extLst>
          </p:cNvPr>
          <p:cNvSpPr>
            <a:spLocks noGrp="1"/>
          </p:cNvSpPr>
          <p:nvPr>
            <p:ph type="body" sz="quarter" idx="18"/>
          </p:nvPr>
        </p:nvSpPr>
        <p:spPr>
          <a:xfrm>
            <a:off x="991076" y="1882894"/>
            <a:ext cx="4357301" cy="3291086"/>
          </a:xfrm>
        </p:spPr>
        <p:txBody>
          <a:bodyPr/>
          <a:lstStyle/>
          <a:p>
            <a:pPr marL="0" indent="0"/>
            <a:r>
              <a:rPr lang="en-GB" dirty="0"/>
              <a:t>Klicken Sie auf den Link unter dem Laptop-Bildschirm und erfahren Sie mehr über den Marketing-Mix und die vier Ps des Marketings</a:t>
            </a:r>
            <a:endParaRPr lang="en-IE" dirty="0"/>
          </a:p>
        </p:txBody>
      </p:sp>
      <p:pic>
        <p:nvPicPr>
          <p:cNvPr id="16" name="Picture Placeholder 15">
            <a:extLst>
              <a:ext uri="{FF2B5EF4-FFF2-40B4-BE49-F238E27FC236}">
                <a16:creationId xmlns:a16="http://schemas.microsoft.com/office/drawing/2014/main" id="{0F93EC4E-5002-B57F-6BE2-8C82F8B3BA1D}"/>
              </a:ext>
            </a:extLst>
          </p:cNvPr>
          <p:cNvPicPr>
            <a:picLocks noGrp="1" noChangeAspect="1"/>
          </p:cNvPicPr>
          <p:nvPr>
            <p:ph type="pic" sz="quarter" idx="10"/>
          </p:nvPr>
        </p:nvPicPr>
        <p:blipFill>
          <a:blip r:embed="rId5"/>
          <a:srcRect l="10101" r="10101"/>
          <a:stretch>
            <a:fillRect/>
          </a:stretch>
        </p:blipFill>
        <p:spPr/>
      </p:pic>
    </p:spTree>
    <p:extLst>
      <p:ext uri="{BB962C8B-B14F-4D97-AF65-F5344CB8AC3E}">
        <p14:creationId xmlns:p14="http://schemas.microsoft.com/office/powerpoint/2010/main" val="3047794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a:t>Wenn die Leute daran zweifeln, wie weit Sie gehen können, gehen Sie so weit, dass Sie sie nicht mehr hören könne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a:solidFill>
                  <a:schemeClr val="bg1"/>
                </a:solidFill>
              </a:rPr>
              <a:t>Michèle Ruiz</a:t>
            </a:r>
            <a:endParaRPr lang="en-US" sz="2400" b="1">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a:extLst>
              <a:ext uri="{FF2B5EF4-FFF2-40B4-BE49-F238E27FC236}">
                <a16:creationId xmlns:a16="http://schemas.microsoft.com/office/drawing/2014/main" id="{C5E5A041-4CD3-DAAB-C9B6-246D54D4271D}"/>
              </a:ext>
            </a:extLst>
          </p:cNvPr>
          <p:cNvPicPr>
            <a:picLocks noGrp="1" noChangeAspect="1"/>
          </p:cNvPicPr>
          <p:nvPr>
            <p:ph type="pic" sz="quarter" idx="42"/>
          </p:nvPr>
        </p:nvPicPr>
        <p:blipFill>
          <a:blip r:embed="rId3" cstate="screen">
            <a:extLst>
              <a:ext uri="{28A0092B-C50C-407E-A947-70E740481C1C}">
                <a14:useLocalDpi xmlns:a14="http://schemas.microsoft.com/office/drawing/2010/main"/>
              </a:ext>
            </a:extLst>
          </a:blip>
          <a:srcRect l="12864" r="12864"/>
          <a:stretch>
            <a:fillRect/>
          </a:stretch>
        </p:blipFill>
        <p:spPr>
          <a:xfrm>
            <a:off x="6096000" y="1404938"/>
            <a:ext cx="5240338" cy="4703762"/>
          </a:xfrm>
        </p:spPr>
      </p:pic>
    </p:spTree>
    <p:extLst>
      <p:ext uri="{BB962C8B-B14F-4D97-AF65-F5344CB8AC3E}">
        <p14:creationId xmlns:p14="http://schemas.microsoft.com/office/powerpoint/2010/main" val="903574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82731" y="1627243"/>
            <a:ext cx="10257852" cy="3849918"/>
          </a:xfrm>
        </p:spPr>
        <p:txBody>
          <a:bodyPr/>
          <a:lstStyle/>
          <a:p>
            <a:pPr marL="0" indent="0"/>
            <a:r>
              <a:rPr lang="en-GB" sz="1800" dirty="0"/>
              <a:t>Der Verkauf ist eine Kunst und eine Wissenschaft. Ohne Verkauf gibt es kein Geschäft. Der Vertrieb ist im Grunde die treibende Kraft eines jeden Unternehmens. Er generiert Einnahmen, treibt das Wachstum an und erhält den Betrieb aufrecht. </a:t>
            </a:r>
          </a:p>
          <a:p>
            <a:pPr marL="0" indent="0"/>
            <a:r>
              <a:rPr lang="en-GB" sz="1800" dirty="0"/>
              <a:t>Im Grunde besteht die Aufgabe des Vertriebs darin, Leads oder Interessenten in zahlende Kunden umzuwandeln und so Einnahmen zu erzielen. Diese Einnahmen sind entscheidend für die Deckung der Betriebskosten, für Investitionen in das Unternehmenswachstum und für die Schaffung von Shareholder Value.</a:t>
            </a:r>
          </a:p>
          <a:p>
            <a:pPr marL="0" indent="0"/>
            <a:r>
              <a:rPr lang="en-GB" sz="1800" dirty="0"/>
              <a:t>Der Verkauf ist ein systematischer Prozess, der mehrere Stufen umfasst:</a:t>
            </a:r>
          </a:p>
          <a:p>
            <a:pPr marL="0" indent="0"/>
            <a:endParaRPr lang="en-GB" sz="1800" dirty="0"/>
          </a:p>
          <a:p>
            <a:pPr marL="0" indent="0"/>
            <a:endParaRPr lang="en-GB" sz="100" dirty="0"/>
          </a:p>
          <a:p>
            <a:pPr marL="0" indent="0"/>
            <a:r>
              <a:rPr lang="en-GB" sz="1800" dirty="0"/>
              <a:t>Investitionen in das Verständnis und die Beherrschung jeder dieser Phasen durch Schulung und Praxis können die Verkaufsergebnisse erheblich verbessern. Weitere Informationen finden Sie in Abschnitt 5. </a:t>
            </a:r>
            <a:endParaRPr lang="en-US" sz="1800" dirty="0"/>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70607" y="761603"/>
            <a:ext cx="9632553" cy="803654"/>
          </a:xfrm>
        </p:spPr>
        <p:txBody>
          <a:bodyPr/>
          <a:lstStyle/>
          <a:p>
            <a:r>
              <a:rPr lang="en-US" dirty="0">
                <a:solidFill>
                  <a:schemeClr val="bg1"/>
                </a:solidFill>
              </a:rPr>
              <a:t>Vertrieb, der Motor des Geschäfts</a:t>
            </a:r>
            <a:endParaRPr lang="en-US" dirty="0"/>
          </a:p>
        </p:txBody>
      </p:sp>
      <p:graphicFrame>
        <p:nvGraphicFramePr>
          <p:cNvPr id="16" name="Table 15">
            <a:extLst>
              <a:ext uri="{FF2B5EF4-FFF2-40B4-BE49-F238E27FC236}">
                <a16:creationId xmlns:a16="http://schemas.microsoft.com/office/drawing/2014/main" id="{24642028-663F-2345-C979-FE4F401F02BC}"/>
              </a:ext>
            </a:extLst>
          </p:cNvPr>
          <p:cNvGraphicFramePr>
            <a:graphicFrameLocks noGrp="1"/>
          </p:cNvGraphicFramePr>
          <p:nvPr>
            <p:extLst>
              <p:ext uri="{D42A27DB-BD31-4B8C-83A1-F6EECF244321}">
                <p14:modId xmlns:p14="http://schemas.microsoft.com/office/powerpoint/2010/main" val="972193123"/>
              </p:ext>
            </p:extLst>
          </p:nvPr>
        </p:nvGraphicFramePr>
        <p:xfrm>
          <a:off x="682731" y="3897218"/>
          <a:ext cx="10101357" cy="640080"/>
        </p:xfrm>
        <a:graphic>
          <a:graphicData uri="http://schemas.openxmlformats.org/drawingml/2006/table">
            <a:tbl>
              <a:tblPr firstRow="1" bandRow="1">
                <a:tableStyleId>{5C22544A-7EE6-4342-B048-85BDC9FD1C3A}</a:tableStyleId>
              </a:tblPr>
              <a:tblGrid>
                <a:gridCol w="1443051">
                  <a:extLst>
                    <a:ext uri="{9D8B030D-6E8A-4147-A177-3AD203B41FA5}">
                      <a16:colId xmlns:a16="http://schemas.microsoft.com/office/drawing/2014/main" val="3726625455"/>
                    </a:ext>
                  </a:extLst>
                </a:gridCol>
                <a:gridCol w="1443051">
                  <a:extLst>
                    <a:ext uri="{9D8B030D-6E8A-4147-A177-3AD203B41FA5}">
                      <a16:colId xmlns:a16="http://schemas.microsoft.com/office/drawing/2014/main" val="873477872"/>
                    </a:ext>
                  </a:extLst>
                </a:gridCol>
                <a:gridCol w="1443051">
                  <a:extLst>
                    <a:ext uri="{9D8B030D-6E8A-4147-A177-3AD203B41FA5}">
                      <a16:colId xmlns:a16="http://schemas.microsoft.com/office/drawing/2014/main" val="1662147955"/>
                    </a:ext>
                  </a:extLst>
                </a:gridCol>
                <a:gridCol w="1443051">
                  <a:extLst>
                    <a:ext uri="{9D8B030D-6E8A-4147-A177-3AD203B41FA5}">
                      <a16:colId xmlns:a16="http://schemas.microsoft.com/office/drawing/2014/main" val="2781086497"/>
                    </a:ext>
                  </a:extLst>
                </a:gridCol>
                <a:gridCol w="1443051">
                  <a:extLst>
                    <a:ext uri="{9D8B030D-6E8A-4147-A177-3AD203B41FA5}">
                      <a16:colId xmlns:a16="http://schemas.microsoft.com/office/drawing/2014/main" val="629684773"/>
                    </a:ext>
                  </a:extLst>
                </a:gridCol>
                <a:gridCol w="1443051">
                  <a:extLst>
                    <a:ext uri="{9D8B030D-6E8A-4147-A177-3AD203B41FA5}">
                      <a16:colId xmlns:a16="http://schemas.microsoft.com/office/drawing/2014/main" val="1860778064"/>
                    </a:ext>
                  </a:extLst>
                </a:gridCol>
                <a:gridCol w="1443051">
                  <a:extLst>
                    <a:ext uri="{9D8B030D-6E8A-4147-A177-3AD203B41FA5}">
                      <a16:colId xmlns:a16="http://schemas.microsoft.com/office/drawing/2014/main" val="4102652623"/>
                    </a:ext>
                  </a:extLst>
                </a:gridCol>
              </a:tblGrid>
              <a:tr h="370840">
                <a:tc>
                  <a:txBody>
                    <a:bodyPr/>
                    <a:lstStyle/>
                    <a:p>
                      <a:r>
                        <a:rPr lang="en-GB" dirty="0"/>
                        <a:t>Finden</a:t>
                      </a:r>
                      <a:endParaRPr lang="en-IE" dirty="0"/>
                    </a:p>
                  </a:txBody>
                  <a:tcPr>
                    <a:solidFill>
                      <a:srgbClr val="FDBD22"/>
                    </a:solidFill>
                  </a:tcPr>
                </a:tc>
                <a:tc>
                  <a:txBody>
                    <a:bodyPr/>
                    <a:lstStyle/>
                    <a:p>
                      <a:r>
                        <a:rPr lang="en-IE" dirty="0"/>
                        <a:t>Vorbereitung </a:t>
                      </a:r>
                    </a:p>
                  </a:txBody>
                  <a:tcPr>
                    <a:solidFill>
                      <a:srgbClr val="DE0A1D"/>
                    </a:solidFill>
                  </a:tcPr>
                </a:tc>
                <a:tc>
                  <a:txBody>
                    <a:bodyPr/>
                    <a:lstStyle/>
                    <a:p>
                      <a:r>
                        <a:rPr lang="en-IE" dirty="0"/>
                        <a:t>Näherung</a:t>
                      </a:r>
                    </a:p>
                  </a:txBody>
                  <a:tcPr>
                    <a:solidFill>
                      <a:srgbClr val="47B5C8"/>
                    </a:solidFill>
                  </a:tcPr>
                </a:tc>
                <a:tc>
                  <a:txBody>
                    <a:bodyPr/>
                    <a:lstStyle/>
                    <a:p>
                      <a:r>
                        <a:rPr lang="en-IE" dirty="0"/>
                        <a:t>Präsentation </a:t>
                      </a:r>
                    </a:p>
                  </a:txBody>
                  <a:tcPr>
                    <a:solidFill>
                      <a:srgbClr val="D9552F"/>
                    </a:solidFill>
                  </a:tcPr>
                </a:tc>
                <a:tc>
                  <a:txBody>
                    <a:bodyPr/>
                    <a:lstStyle/>
                    <a:p>
                      <a:r>
                        <a:rPr lang="en-IE" dirty="0"/>
                        <a:t>Umgang mit Einwänden </a:t>
                      </a:r>
                    </a:p>
                  </a:txBody>
                  <a:tcPr/>
                </a:tc>
                <a:tc>
                  <a:txBody>
                    <a:bodyPr/>
                    <a:lstStyle/>
                    <a:p>
                      <a:r>
                        <a:rPr lang="en-IE" dirty="0"/>
                        <a:t>Den Verkauf abschließen</a:t>
                      </a:r>
                    </a:p>
                  </a:txBody>
                  <a:tcPr>
                    <a:solidFill>
                      <a:srgbClr val="20376B"/>
                    </a:solidFill>
                  </a:tcPr>
                </a:tc>
                <a:tc>
                  <a:txBody>
                    <a:bodyPr/>
                    <a:lstStyle/>
                    <a:p>
                      <a:r>
                        <a:rPr lang="en-IE" dirty="0"/>
                        <a:t>Weiterverfolgung</a:t>
                      </a:r>
                    </a:p>
                  </a:txBody>
                  <a:tcPr>
                    <a:solidFill>
                      <a:srgbClr val="5796D0"/>
                    </a:solidFill>
                  </a:tcPr>
                </a:tc>
                <a:extLst>
                  <a:ext uri="{0D108BD9-81ED-4DB2-BD59-A6C34878D82A}">
                    <a16:rowId xmlns:a16="http://schemas.microsoft.com/office/drawing/2014/main" val="2023929542"/>
                  </a:ext>
                </a:extLst>
              </a:tr>
            </a:tbl>
          </a:graphicData>
        </a:graphic>
      </p:graphicFrame>
    </p:spTree>
    <p:extLst>
      <p:ext uri="{BB962C8B-B14F-4D97-AF65-F5344CB8AC3E}">
        <p14:creationId xmlns:p14="http://schemas.microsoft.com/office/powerpoint/2010/main" val="39892296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7318D9-C48B-3484-D162-71A82E315320}"/>
              </a:ext>
            </a:extLst>
          </p:cNvPr>
          <p:cNvSpPr>
            <a:spLocks noGrp="1"/>
          </p:cNvSpPr>
          <p:nvPr>
            <p:ph type="body" sz="quarter" idx="18"/>
          </p:nvPr>
        </p:nvSpPr>
        <p:spPr>
          <a:xfrm>
            <a:off x="613692" y="1504041"/>
            <a:ext cx="10303877" cy="3849918"/>
          </a:xfrm>
        </p:spPr>
        <p:txBody>
          <a:bodyPr/>
          <a:lstStyle/>
          <a:p>
            <a:pPr marL="0" indent="0"/>
            <a:r>
              <a:rPr lang="en-GB" sz="2000" dirty="0"/>
              <a:t>Es gibt mehrere Ressourcen, die wertvolle </a:t>
            </a:r>
            <a:r>
              <a:rPr lang="en-GB" sz="2000" b="1" dirty="0"/>
              <a:t>Verkaufsschulungen </a:t>
            </a:r>
            <a:r>
              <a:rPr lang="en-GB" sz="2000" dirty="0"/>
              <a:t>anbieten. Besuchen Sie </a:t>
            </a:r>
          </a:p>
          <a:p>
            <a:pPr marL="342900" indent="-342900">
              <a:buFont typeface="Arial" panose="020B0604020202020204" pitchFamily="34" charset="0"/>
              <a:buChar char="•"/>
            </a:pPr>
            <a:r>
              <a:rPr lang="en-GB" sz="2000" b="1" i="0" dirty="0">
                <a:effectLst/>
              </a:rPr>
              <a:t>Warum Relationship Selling so wichtig ist- </a:t>
            </a:r>
            <a:r>
              <a:rPr lang="en-GB" sz="2000" dirty="0">
                <a:hlinkClick r:id="rId2"/>
              </a:rPr>
              <a:t>Warum Relationship Selling so wichtig ist</a:t>
            </a:r>
            <a:endParaRPr lang="en-GB" sz="2000" dirty="0"/>
          </a:p>
          <a:p>
            <a:pPr marL="342900" indent="-342900">
              <a:buFont typeface="Arial" panose="020B0604020202020204" pitchFamily="34" charset="0"/>
              <a:buChar char="•"/>
            </a:pPr>
            <a:r>
              <a:rPr lang="en-GB" sz="2000" b="1" i="0" dirty="0">
                <a:effectLst/>
              </a:rPr>
              <a:t>Wie man Geschäfte anpreist und gewinnt </a:t>
            </a:r>
            <a:r>
              <a:rPr lang="en-GB" sz="2000" dirty="0">
                <a:hlinkClick r:id="rId3"/>
              </a:rPr>
              <a:t>Simon Sinek: Wie man Geschäfte anpreist und gewinnt | E13</a:t>
            </a:r>
            <a:endParaRPr lang="en-GB" sz="2000" dirty="0"/>
          </a:p>
          <a:p>
            <a:pPr marL="342900" indent="-342900">
              <a:buFont typeface="Arial" panose="020B0604020202020204" pitchFamily="34" charset="0"/>
              <a:buChar char="•"/>
            </a:pPr>
            <a:r>
              <a:rPr lang="en-GB" sz="2000" b="1" i="0" dirty="0">
                <a:effectLst/>
              </a:rPr>
              <a:t>Der Vier-Buchstaben-Code, um alles zu verkaufen </a:t>
            </a:r>
            <a:r>
              <a:rPr lang="en-GB" sz="2000" i="0" dirty="0">
                <a:solidFill>
                  <a:srgbClr val="0F0F0F"/>
                </a:solidFill>
                <a:effectLst/>
              </a:rPr>
              <a:t>https://youtu.be/6pY7EjqD3QA?si=-HvERKjTyDbXMDu9 </a:t>
            </a:r>
          </a:p>
          <a:p>
            <a:pPr marL="342900" indent="-342900">
              <a:buFont typeface="Arial" panose="020B0604020202020204" pitchFamily="34" charset="0"/>
              <a:buChar char="•"/>
            </a:pPr>
            <a:r>
              <a:rPr lang="en-GB" sz="2000" b="1" i="0" dirty="0">
                <a:effectLst/>
              </a:rPr>
              <a:t>Verblüffend ungenutzte Verkaufstechniken </a:t>
            </a:r>
            <a:r>
              <a:rPr lang="en-GB" sz="2000" i="0" dirty="0">
                <a:effectLst/>
              </a:rPr>
              <a:t>https://youtu.be/TsiEfqd613Q?si=2xQpxpX_OL9vIdWk </a:t>
            </a:r>
          </a:p>
          <a:p>
            <a:pPr marL="342900" indent="-342900">
              <a:buFont typeface="Arial" panose="020B0604020202020204" pitchFamily="34" charset="0"/>
              <a:buChar char="•"/>
            </a:pPr>
            <a:r>
              <a:rPr lang="en-GB" sz="2000" b="1" i="0" dirty="0">
                <a:effectLst/>
              </a:rPr>
              <a:t>5 wissenschaftlich belegte Verkaufstechniken </a:t>
            </a:r>
            <a:r>
              <a:rPr lang="en-GB" sz="2000" dirty="0">
                <a:hlinkClick r:id="rId4"/>
              </a:rPr>
              <a:t>5 wissenschaftlich belegte Verkaufstechniken</a:t>
            </a:r>
            <a:endParaRPr lang="en-GB" sz="2000" b="1" i="0" dirty="0">
              <a:solidFill>
                <a:srgbClr val="0F0F0F"/>
              </a:solidFill>
              <a:effectLst/>
            </a:endParaRPr>
          </a:p>
          <a:p>
            <a:pPr marL="0" indent="0"/>
            <a:endParaRPr lang="en-GB" sz="2000" dirty="0"/>
          </a:p>
          <a:p>
            <a:pPr marL="0" indent="0"/>
            <a:endParaRPr lang="en-IE" sz="2000" dirty="0"/>
          </a:p>
        </p:txBody>
      </p:sp>
      <p:sp>
        <p:nvSpPr>
          <p:cNvPr id="4" name="Freeform 1">
            <a:extLst>
              <a:ext uri="{FF2B5EF4-FFF2-40B4-BE49-F238E27FC236}">
                <a16:creationId xmlns:a16="http://schemas.microsoft.com/office/drawing/2014/main" id="{7E11FD03-6D08-CAE9-0458-58FFB295E94A}"/>
              </a:ext>
            </a:extLst>
          </p:cNvPr>
          <p:cNvSpPr/>
          <p:nvPr/>
        </p:nvSpPr>
        <p:spPr>
          <a:xfrm>
            <a:off x="0" y="434303"/>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6" name="Text Placeholder 3">
            <a:extLst>
              <a:ext uri="{FF2B5EF4-FFF2-40B4-BE49-F238E27FC236}">
                <a16:creationId xmlns:a16="http://schemas.microsoft.com/office/drawing/2014/main" id="{FA5774C7-4E10-2713-CC6F-138186BB0FFE}"/>
              </a:ext>
            </a:extLst>
          </p:cNvPr>
          <p:cNvSpPr>
            <a:spLocks noGrp="1"/>
          </p:cNvSpPr>
          <p:nvPr>
            <p:ph type="body" sz="quarter" idx="16"/>
          </p:nvPr>
        </p:nvSpPr>
        <p:spPr>
          <a:xfrm>
            <a:off x="239923" y="567345"/>
            <a:ext cx="9632553" cy="803654"/>
          </a:xfrm>
        </p:spPr>
        <p:txBody>
          <a:bodyPr/>
          <a:lstStyle/>
          <a:p>
            <a:r>
              <a:rPr lang="en-US" dirty="0">
                <a:solidFill>
                  <a:schemeClr val="bg1"/>
                </a:solidFill>
              </a:rPr>
              <a:t>MEHR ERFAHREN </a:t>
            </a:r>
            <a:endParaRPr lang="en-US" dirty="0"/>
          </a:p>
        </p:txBody>
      </p:sp>
    </p:spTree>
    <p:extLst>
      <p:ext uri="{BB962C8B-B14F-4D97-AF65-F5344CB8AC3E}">
        <p14:creationId xmlns:p14="http://schemas.microsoft.com/office/powerpoint/2010/main" val="41974907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9BB0EA97-F277-B5F9-2565-837DF612245D}"/>
              </a:ext>
            </a:extLst>
          </p:cNvPr>
          <p:cNvSpPr/>
          <p:nvPr/>
        </p:nvSpPr>
        <p:spPr>
          <a:xfrm>
            <a:off x="0" y="664464"/>
            <a:ext cx="812738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endParaRPr lang="en-US" b="0" i="0">
              <a:latin typeface="Calibri" panose="020F0502020204030204" pitchFamily="34" charset="0"/>
              <a:cs typeface="Calibri"/>
            </a:endParaRPr>
          </a:p>
        </p:txBody>
      </p:sp>
      <p:sp>
        <p:nvSpPr>
          <p:cNvPr id="2" name="Text Placeholder 1">
            <a:extLst>
              <a:ext uri="{FF2B5EF4-FFF2-40B4-BE49-F238E27FC236}">
                <a16:creationId xmlns:a16="http://schemas.microsoft.com/office/drawing/2014/main" id="{AE8549F6-E558-0966-A596-54F073D152D3}"/>
              </a:ext>
            </a:extLst>
          </p:cNvPr>
          <p:cNvSpPr>
            <a:spLocks noGrp="1"/>
          </p:cNvSpPr>
          <p:nvPr>
            <p:ph type="body" sz="quarter" idx="18"/>
          </p:nvPr>
        </p:nvSpPr>
        <p:spPr>
          <a:xfrm>
            <a:off x="707271" y="1565938"/>
            <a:ext cx="10136654" cy="1116877"/>
          </a:xfrm>
        </p:spPr>
        <p:txBody>
          <a:bodyPr lIns="91440" tIns="45720" rIns="91440" bIns="45720" anchor="t"/>
          <a:lstStyle/>
          <a:p>
            <a:pPr marL="0" indent="0"/>
            <a:r>
              <a:rPr lang="en-US" sz="2000" dirty="0">
                <a:cs typeface="Calibri"/>
              </a:rPr>
              <a:t>Unternehmer können sich sehr stark auf den Verkauf der </a:t>
            </a:r>
            <a:r>
              <a:rPr lang="en-US" sz="2000" b="1" dirty="0">
                <a:cs typeface="Calibri"/>
              </a:rPr>
              <a:t>Funktionen </a:t>
            </a:r>
            <a:r>
              <a:rPr lang="en-US" sz="2000" dirty="0">
                <a:cs typeface="Calibri"/>
              </a:rPr>
              <a:t>konzentrieren, die Ihr Produkt oder Ihre Dienstleistung bietet. Ihr Kunde konzentriert sich mehr auf den </a:t>
            </a:r>
            <a:r>
              <a:rPr lang="en-US" sz="2000" b="1" dirty="0">
                <a:cs typeface="Calibri"/>
              </a:rPr>
              <a:t>Nutzen, den </a:t>
            </a:r>
            <a:r>
              <a:rPr lang="en-US" sz="2000" dirty="0">
                <a:cs typeface="Calibri"/>
              </a:rPr>
              <a:t>Ihr Produkt oder Ihre Dienstleistung ihm bieten kann.</a:t>
            </a:r>
          </a:p>
        </p:txBody>
      </p:sp>
      <p:sp>
        <p:nvSpPr>
          <p:cNvPr id="3" name="Text Placeholder 2">
            <a:extLst>
              <a:ext uri="{FF2B5EF4-FFF2-40B4-BE49-F238E27FC236}">
                <a16:creationId xmlns:a16="http://schemas.microsoft.com/office/drawing/2014/main" id="{85B418BA-D3A5-9DF7-46EE-F1BF375A9736}"/>
              </a:ext>
            </a:extLst>
          </p:cNvPr>
          <p:cNvSpPr>
            <a:spLocks noGrp="1"/>
          </p:cNvSpPr>
          <p:nvPr>
            <p:ph type="body" sz="quarter" idx="16"/>
          </p:nvPr>
        </p:nvSpPr>
        <p:spPr/>
        <p:txBody>
          <a:bodyPr lIns="91440" tIns="45720" rIns="91440" bIns="45720" anchor="t">
            <a:noAutofit/>
          </a:bodyPr>
          <a:lstStyle/>
          <a:p>
            <a:r>
              <a:rPr lang="en-US" sz="3200" dirty="0">
                <a:solidFill>
                  <a:schemeClr val="bg1"/>
                </a:solidFill>
                <a:cs typeface="Calibri"/>
              </a:rPr>
              <a:t>Verkaufen von Merkmalen und Vorteilen</a:t>
            </a:r>
            <a:endParaRPr lang="en-US" sz="3200" dirty="0">
              <a:solidFill>
                <a:schemeClr val="bg1"/>
              </a:solidFill>
            </a:endParaRPr>
          </a:p>
        </p:txBody>
      </p:sp>
      <p:sp>
        <p:nvSpPr>
          <p:cNvPr id="7" name="Text Placeholder 4">
            <a:extLst>
              <a:ext uri="{FF2B5EF4-FFF2-40B4-BE49-F238E27FC236}">
                <a16:creationId xmlns:a16="http://schemas.microsoft.com/office/drawing/2014/main" id="{D8CF4142-38BB-A691-0F68-C9D4991E4BD5}"/>
              </a:ext>
            </a:extLst>
          </p:cNvPr>
          <p:cNvSpPr txBox="1">
            <a:spLocks/>
          </p:cNvSpPr>
          <p:nvPr/>
        </p:nvSpPr>
        <p:spPr>
          <a:xfrm>
            <a:off x="704396" y="3174641"/>
            <a:ext cx="4841626" cy="366590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4171950" algn="l"/>
              </a:tabLst>
            </a:pPr>
            <a:r>
              <a:rPr lang="en-US" sz="2000" b="1" dirty="0">
                <a:solidFill>
                  <a:srgbClr val="EC2179"/>
                </a:solidFill>
              </a:rPr>
              <a:t>PRODUKTMERKMALE</a:t>
            </a:r>
          </a:p>
          <a:p>
            <a:pPr>
              <a:tabLst>
                <a:tab pos="4171950" algn="l"/>
              </a:tabLst>
            </a:pPr>
            <a:r>
              <a:rPr lang="en-IE" sz="2000" dirty="0">
                <a:solidFill>
                  <a:srgbClr val="086575"/>
                </a:solidFill>
              </a:rPr>
              <a:t>Die mehrsprachige Lern-App für Kinder </a:t>
            </a:r>
            <a:r>
              <a:rPr lang="en-GB" sz="2000" dirty="0">
                <a:solidFill>
                  <a:srgbClr val="086575"/>
                </a:solidFill>
              </a:rPr>
              <a:t>bietet interaktives Lernen in 5 verschiedenen Sprachen.</a:t>
            </a:r>
          </a:p>
          <a:p>
            <a:pPr>
              <a:tabLst>
                <a:tab pos="4171950" algn="l"/>
              </a:tabLst>
            </a:pPr>
            <a:endParaRPr lang="en-GB" sz="2000" b="1" dirty="0">
              <a:solidFill>
                <a:srgbClr val="086575"/>
              </a:solidFill>
            </a:endParaRPr>
          </a:p>
          <a:p>
            <a:pPr>
              <a:tabLst>
                <a:tab pos="4171950" algn="l"/>
              </a:tabLst>
            </a:pPr>
            <a:r>
              <a:rPr lang="en-IE" sz="2000" dirty="0">
                <a:solidFill>
                  <a:srgbClr val="086575"/>
                </a:solidFill>
              </a:rPr>
              <a:t>Umweltfreundliche wiederverwendbare Wasserflaschen </a:t>
            </a:r>
            <a:r>
              <a:rPr lang="en-GB" sz="2000" dirty="0">
                <a:solidFill>
                  <a:srgbClr val="086575"/>
                </a:solidFill>
              </a:rPr>
              <a:t>aus 100 % recycelten Materialien.</a:t>
            </a:r>
            <a:endParaRPr lang="en-US" sz="2000" b="1" dirty="0">
              <a:solidFill>
                <a:srgbClr val="086575"/>
              </a:solidFill>
            </a:endParaRPr>
          </a:p>
          <a:p>
            <a:pPr>
              <a:tabLst>
                <a:tab pos="4171950" algn="l"/>
              </a:tabLst>
            </a:pPr>
            <a:endParaRPr lang="en-US" sz="2000" dirty="0">
              <a:solidFill>
                <a:srgbClr val="003841"/>
              </a:solidFill>
            </a:endParaRPr>
          </a:p>
          <a:p>
            <a:pPr>
              <a:tabLst>
                <a:tab pos="4171950" algn="l"/>
              </a:tabLst>
            </a:pPr>
            <a:endParaRPr lang="en-US" sz="2000" dirty="0">
              <a:solidFill>
                <a:srgbClr val="003841"/>
              </a:solidFill>
            </a:endParaRPr>
          </a:p>
        </p:txBody>
      </p:sp>
      <p:sp>
        <p:nvSpPr>
          <p:cNvPr id="8" name="Text Placeholder 4">
            <a:extLst>
              <a:ext uri="{FF2B5EF4-FFF2-40B4-BE49-F238E27FC236}">
                <a16:creationId xmlns:a16="http://schemas.microsoft.com/office/drawing/2014/main" id="{82F83D47-8B71-AC57-3A18-F6DE06D8BA00}"/>
              </a:ext>
            </a:extLst>
          </p:cNvPr>
          <p:cNvSpPr txBox="1">
            <a:spLocks/>
          </p:cNvSpPr>
          <p:nvPr/>
        </p:nvSpPr>
        <p:spPr>
          <a:xfrm>
            <a:off x="5546022" y="3095566"/>
            <a:ext cx="5546233" cy="382405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4171950" algn="l"/>
              </a:tabLst>
            </a:pPr>
            <a:r>
              <a:rPr lang="en-US" sz="2000" b="1" dirty="0">
                <a:solidFill>
                  <a:srgbClr val="D9552F"/>
                </a:solidFill>
              </a:rPr>
              <a:t>PRODUKTVORTEILE</a:t>
            </a:r>
          </a:p>
          <a:p>
            <a:pPr>
              <a:tabLst>
                <a:tab pos="4171950" algn="l"/>
              </a:tabLst>
            </a:pPr>
            <a:r>
              <a:rPr lang="en-GB" sz="2000" dirty="0">
                <a:solidFill>
                  <a:srgbClr val="595959"/>
                </a:solidFill>
              </a:rPr>
              <a:t>Ermöglicht es Kindern, frühzeitig Sprachkenntnisse zu entwickeln, was zu besseren Bildungsergebnissen und einer stärkeren kulturellen Bindung führt.</a:t>
            </a:r>
          </a:p>
          <a:p>
            <a:pPr>
              <a:tabLst>
                <a:tab pos="4171950" algn="l"/>
              </a:tabLst>
            </a:pPr>
            <a:endParaRPr lang="en-GB" sz="2000" dirty="0">
              <a:solidFill>
                <a:srgbClr val="595959"/>
              </a:solidFill>
            </a:endParaRPr>
          </a:p>
          <a:p>
            <a:pPr>
              <a:tabLst>
                <a:tab pos="4171950" algn="l"/>
              </a:tabLst>
            </a:pPr>
            <a:r>
              <a:rPr lang="en-GB" sz="2000" dirty="0">
                <a:solidFill>
                  <a:srgbClr val="595959"/>
                </a:solidFill>
              </a:rPr>
              <a:t>Hilft umweltbewussten Verbrauchern, ihren CO2-Fußabdruck zu reduzieren und gleichzeitig hydratisiert zu bleiben.</a:t>
            </a:r>
            <a:endParaRPr lang="en-US" sz="2000" dirty="0">
              <a:solidFill>
                <a:srgbClr val="595959"/>
              </a:solidFill>
            </a:endParaRPr>
          </a:p>
          <a:p>
            <a:pPr>
              <a:tabLst>
                <a:tab pos="4171950" algn="l"/>
              </a:tabLst>
            </a:pPr>
            <a:endParaRPr lang="en-US" sz="1100" dirty="0">
              <a:solidFill>
                <a:srgbClr val="003841"/>
              </a:solidFill>
            </a:endParaRPr>
          </a:p>
        </p:txBody>
      </p:sp>
      <p:sp>
        <p:nvSpPr>
          <p:cNvPr id="4" name="TextBox 3">
            <a:extLst>
              <a:ext uri="{FF2B5EF4-FFF2-40B4-BE49-F238E27FC236}">
                <a16:creationId xmlns:a16="http://schemas.microsoft.com/office/drawing/2014/main" id="{8FB6B08E-B95E-852B-F576-BCCC23F3BBE8}"/>
              </a:ext>
            </a:extLst>
          </p:cNvPr>
          <p:cNvSpPr txBox="1"/>
          <p:nvPr/>
        </p:nvSpPr>
        <p:spPr>
          <a:xfrm>
            <a:off x="704396" y="2574425"/>
            <a:ext cx="1819729" cy="584775"/>
          </a:xfrm>
          <a:prstGeom prst="rect">
            <a:avLst/>
          </a:prstGeom>
          <a:noFill/>
        </p:spPr>
        <p:txBody>
          <a:bodyPr wrap="none" rtlCol="0">
            <a:spAutoFit/>
          </a:bodyPr>
          <a:lstStyle/>
          <a:p>
            <a:r>
              <a:rPr lang="en-GB" sz="3200" b="1" dirty="0">
                <a:solidFill>
                  <a:srgbClr val="D9552F"/>
                </a:solidFill>
              </a:rPr>
              <a:t>BEISPIELE</a:t>
            </a:r>
            <a:endParaRPr lang="en-IE" sz="3200" b="1" dirty="0">
              <a:solidFill>
                <a:srgbClr val="D9552F"/>
              </a:solidFill>
            </a:endParaRPr>
          </a:p>
        </p:txBody>
      </p:sp>
    </p:spTree>
    <p:extLst>
      <p:ext uri="{BB962C8B-B14F-4D97-AF65-F5344CB8AC3E}">
        <p14:creationId xmlns:p14="http://schemas.microsoft.com/office/powerpoint/2010/main" val="1208493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C1D95527-9921-D7A8-01CE-35027D6719AA}"/>
              </a:ext>
            </a:extLst>
          </p:cNvPr>
          <p:cNvSpPr/>
          <p:nvPr/>
        </p:nvSpPr>
        <p:spPr>
          <a:xfrm>
            <a:off x="0" y="664464"/>
            <a:ext cx="812738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endParaRPr lang="en-US" b="0" i="0">
              <a:latin typeface="Calibri" panose="020F0502020204030204" pitchFamily="34" charset="0"/>
              <a:cs typeface="Calibri"/>
            </a:endParaRPr>
          </a:p>
        </p:txBody>
      </p:sp>
      <p:sp>
        <p:nvSpPr>
          <p:cNvPr id="3" name="Text Placeholder 2">
            <a:extLst>
              <a:ext uri="{FF2B5EF4-FFF2-40B4-BE49-F238E27FC236}">
                <a16:creationId xmlns:a16="http://schemas.microsoft.com/office/drawing/2014/main" id="{13919155-C010-73D6-455E-191C5DAA436E}"/>
              </a:ext>
            </a:extLst>
          </p:cNvPr>
          <p:cNvSpPr>
            <a:spLocks noGrp="1"/>
          </p:cNvSpPr>
          <p:nvPr>
            <p:ph type="body" sz="quarter" idx="16"/>
          </p:nvPr>
        </p:nvSpPr>
        <p:spPr/>
        <p:txBody>
          <a:bodyPr lIns="91440" tIns="45720" rIns="91440" bIns="45720" anchor="t">
            <a:noAutofit/>
          </a:bodyPr>
          <a:lstStyle/>
          <a:p>
            <a:r>
              <a:rPr lang="en-US" b="1" dirty="0">
                <a:solidFill>
                  <a:schemeClr val="bg1"/>
                </a:solidFill>
                <a:cs typeface="Calibri"/>
              </a:rPr>
              <a:t>ÜBUNG:  </a:t>
            </a:r>
            <a:r>
              <a:rPr lang="en-US" dirty="0">
                <a:solidFill>
                  <a:schemeClr val="bg1"/>
                </a:solidFill>
                <a:cs typeface="Calibri"/>
              </a:rPr>
              <a:t>Merkmale und Nutzen</a:t>
            </a:r>
            <a:endParaRPr lang="en-US" dirty="0">
              <a:solidFill>
                <a:schemeClr val="bg1"/>
              </a:solidFill>
            </a:endParaRPr>
          </a:p>
        </p:txBody>
      </p:sp>
      <p:sp>
        <p:nvSpPr>
          <p:cNvPr id="6" name="テキスト プレースホルダー 36">
            <a:extLst>
              <a:ext uri="{FF2B5EF4-FFF2-40B4-BE49-F238E27FC236}">
                <a16:creationId xmlns:a16="http://schemas.microsoft.com/office/drawing/2014/main" id="{4E8925EB-5F8E-FEBF-A967-0738ED488739}"/>
              </a:ext>
            </a:extLst>
          </p:cNvPr>
          <p:cNvSpPr txBox="1">
            <a:spLocks/>
          </p:cNvSpPr>
          <p:nvPr/>
        </p:nvSpPr>
        <p:spPr bwMode="auto">
          <a:xfrm>
            <a:off x="468184" y="1881045"/>
            <a:ext cx="4492475" cy="3433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Geben</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 Sie vier </a:t>
            </a: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Merkmale</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 an, die </a:t>
            </a: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Ihr</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 </a:t>
            </a: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Produkt</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 </a:t>
            </a: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oder</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 </a:t>
            </a: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Unternehmen</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 </a:t>
            </a:r>
            <a:r>
              <a:rPr kumimoji="0" lang="en-IE" altLang="ja-JP" sz="2000" b="0" i="0" u="none" strike="noStrike" kern="1200" cap="none" spc="0" normalizeH="0" baseline="0" noProof="0" dirty="0" err="1">
                <a:ln>
                  <a:noFill/>
                </a:ln>
                <a:solidFill>
                  <a:srgbClr val="003841"/>
                </a:solidFill>
                <a:effectLst/>
                <a:uLnTx/>
                <a:uFillTx/>
                <a:latin typeface="Calibri" charset="0"/>
                <a:ea typeface="MS PGothic" charset="-128"/>
              </a:rPr>
              <a:t>bietet</a:t>
            </a: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a:t>
            </a:r>
          </a:p>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endParaRP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endPar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endParaRP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p:txBody>
      </p:sp>
      <p:sp>
        <p:nvSpPr>
          <p:cNvPr id="7" name="テキスト プレースホルダー 36">
            <a:extLst>
              <a:ext uri="{FF2B5EF4-FFF2-40B4-BE49-F238E27FC236}">
                <a16:creationId xmlns:a16="http://schemas.microsoft.com/office/drawing/2014/main" id="{4EE0A105-3961-4F55-8A24-DDB6812F72DE}"/>
              </a:ext>
            </a:extLst>
          </p:cNvPr>
          <p:cNvSpPr txBox="1">
            <a:spLocks/>
          </p:cNvSpPr>
          <p:nvPr/>
        </p:nvSpPr>
        <p:spPr bwMode="auto">
          <a:xfrm>
            <a:off x="5491451" y="3196792"/>
            <a:ext cx="4435592" cy="3433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IE" altLang="ja-JP" sz="2000" b="0" i="0" u="none" strike="noStrike" kern="1200" cap="none" spc="0" normalizeH="0" baseline="0" noProof="0" dirty="0">
                <a:ln>
                  <a:noFill/>
                </a:ln>
                <a:solidFill>
                  <a:srgbClr val="003841"/>
                </a:solidFill>
                <a:effectLst/>
                <a:uLnTx/>
                <a:uFillTx/>
                <a:latin typeface="Calibri" charset="0"/>
                <a:ea typeface="MS PGothic" charset="-128"/>
              </a:rPr>
              <a:t>Geben Sie vier Vorteile an, die Ihr Produkt oder Unternehmen bietet:</a:t>
            </a:r>
          </a:p>
          <a:p>
            <a:pPr lvl="0">
              <a:buNone/>
              <a:defRPr/>
            </a:pPr>
            <a:endParaRPr lang="en-IE" altLang="ja-JP" sz="2000" dirty="0">
              <a:solidFill>
                <a:srgbClr val="003841"/>
              </a:solidFill>
              <a:latin typeface="Calibri" charset="0"/>
            </a:endParaRP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a:p>
            <a:pPr marL="457200" lvl="0" indent="-457200">
              <a:buClr>
                <a:srgbClr val="EC2179"/>
              </a:buClr>
              <a:buFont typeface="+mj-lt"/>
              <a:buAutoNum type="arabicPeriod"/>
              <a:defRPr/>
            </a:pPr>
            <a:r>
              <a:rPr lang="en-IE" altLang="ja-JP" sz="2000" dirty="0">
                <a:solidFill>
                  <a:srgbClr val="003841"/>
                </a:solidFill>
                <a:latin typeface="Calibri" charset="0"/>
              </a:rPr>
              <a:t>________________________</a:t>
            </a:r>
          </a:p>
        </p:txBody>
      </p:sp>
      <p:sp>
        <p:nvSpPr>
          <p:cNvPr id="8" name="Pentagon 2">
            <a:extLst>
              <a:ext uri="{FF2B5EF4-FFF2-40B4-BE49-F238E27FC236}">
                <a16:creationId xmlns:a16="http://schemas.microsoft.com/office/drawing/2014/main" id="{BD0812D0-8E64-8D32-FBD5-0597DB40D3DB}"/>
              </a:ext>
            </a:extLst>
          </p:cNvPr>
          <p:cNvSpPr/>
          <p:nvPr/>
        </p:nvSpPr>
        <p:spPr>
          <a:xfrm>
            <a:off x="4955699" y="1880087"/>
            <a:ext cx="5502136" cy="1316705"/>
          </a:xfrm>
          <a:prstGeom prst="homePlate">
            <a:avLst/>
          </a:pr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Fragen Sie sich nun, warum diese Merkmale wichtig sind - dies wird Ihnen helfen, Ihre Vorteile zu ermitteln</a:t>
            </a:r>
            <a:endParaRPr lang="en-US" sz="1600"/>
          </a:p>
        </p:txBody>
      </p:sp>
    </p:spTree>
    <p:extLst>
      <p:ext uri="{BB962C8B-B14F-4D97-AF65-F5344CB8AC3E}">
        <p14:creationId xmlns:p14="http://schemas.microsoft.com/office/powerpoint/2010/main" val="30727153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963255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61603"/>
            <a:ext cx="9131682" cy="803654"/>
          </a:xfrm>
        </p:spPr>
        <p:txBody>
          <a:bodyPr/>
          <a:lstStyle/>
          <a:p>
            <a:r>
              <a:rPr lang="en-US" sz="3200">
                <a:solidFill>
                  <a:schemeClr val="bg1"/>
                </a:solidFill>
              </a:rPr>
              <a:t>Die Beziehung zwischen Marketing und Vertrieb</a:t>
            </a:r>
            <a:endParaRPr lang="en-US" sz="3200"/>
          </a:p>
        </p:txBody>
      </p:sp>
      <p:sp>
        <p:nvSpPr>
          <p:cNvPr id="7" name="Text Placeholder 1">
            <a:extLst>
              <a:ext uri="{FF2B5EF4-FFF2-40B4-BE49-F238E27FC236}">
                <a16:creationId xmlns:a16="http://schemas.microsoft.com/office/drawing/2014/main" id="{D522593D-85E5-44BC-F15F-728DB8EE28E5}"/>
              </a:ext>
            </a:extLst>
          </p:cNvPr>
          <p:cNvSpPr txBox="1">
            <a:spLocks/>
          </p:cNvSpPr>
          <p:nvPr/>
        </p:nvSpPr>
        <p:spPr>
          <a:xfrm>
            <a:off x="953135" y="1441449"/>
            <a:ext cx="9323043" cy="3975101"/>
          </a:xfrm>
          <a:prstGeom prst="rect">
            <a:avLst/>
          </a:prstGeom>
        </p:spPr>
        <p:txBody>
          <a:bodyPr numCol="2"/>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solidFill>
                  <a:srgbClr val="47B5C8"/>
                </a:solidFill>
              </a:rPr>
              <a:t>VERMARKTUNG</a:t>
            </a:r>
          </a:p>
          <a:p>
            <a:r>
              <a:rPr lang="en-US" sz="300" b="1" dirty="0">
                <a:solidFill>
                  <a:srgbClr val="595959"/>
                </a:solidFill>
              </a:rPr>
              <a:t> </a:t>
            </a:r>
          </a:p>
          <a:p>
            <a:pPr>
              <a:buClr>
                <a:srgbClr val="EC2179"/>
              </a:buClr>
            </a:pPr>
            <a:r>
              <a:rPr lang="en-US" sz="2400" dirty="0">
                <a:solidFill>
                  <a:srgbClr val="595959"/>
                </a:solidFill>
              </a:rPr>
              <a:t>Langfristig</a:t>
            </a:r>
          </a:p>
          <a:p>
            <a:pPr>
              <a:buClr>
                <a:srgbClr val="EC2179"/>
              </a:buClr>
            </a:pPr>
            <a:r>
              <a:rPr lang="en-US" sz="2400" dirty="0">
                <a:solidFill>
                  <a:srgbClr val="595959"/>
                </a:solidFill>
              </a:rPr>
              <a:t>Ziel ist es, Beziehungen aufzubauen</a:t>
            </a:r>
          </a:p>
          <a:p>
            <a:pPr marL="342900" indent="-342900">
              <a:buClr>
                <a:srgbClr val="EC2179"/>
              </a:buClr>
              <a:buFont typeface="Arial" charset="0"/>
              <a:buChar char="•"/>
            </a:pPr>
            <a:r>
              <a:rPr lang="en-US" sz="2400" dirty="0">
                <a:solidFill>
                  <a:srgbClr val="595959"/>
                </a:solidFill>
              </a:rPr>
              <a:t>Während der Verkauf den "Anstoß" zum Kauf des Produkts gibt, sobald der Kunde da ist, ist das Marketing die "Anziehungskraft", die den Kunden überhaupt erst zu Ihnen bringt.</a:t>
            </a:r>
          </a:p>
          <a:p>
            <a:pPr marL="342900" indent="-342900">
              <a:buClr>
                <a:srgbClr val="EC2179"/>
              </a:buClr>
              <a:buFont typeface="Arial" charset="0"/>
              <a:buChar char="•"/>
            </a:pPr>
            <a:endParaRPr lang="en-US" sz="2400" dirty="0">
              <a:solidFill>
                <a:srgbClr val="595959"/>
              </a:solidFill>
            </a:endParaRPr>
          </a:p>
          <a:p>
            <a:endParaRPr lang="en-US" sz="2400" dirty="0">
              <a:solidFill>
                <a:srgbClr val="595959"/>
              </a:solidFill>
            </a:endParaRPr>
          </a:p>
          <a:p>
            <a:pPr marL="0" indent="0">
              <a:buNone/>
            </a:pPr>
            <a:r>
              <a:rPr lang="en-US" sz="2400" b="1" dirty="0">
                <a:solidFill>
                  <a:srgbClr val="47B5C8"/>
                </a:solidFill>
              </a:rPr>
              <a:t>VERKAUF</a:t>
            </a:r>
          </a:p>
          <a:p>
            <a:endParaRPr lang="en-US" sz="300" b="1" dirty="0">
              <a:solidFill>
                <a:srgbClr val="595959"/>
              </a:solidFill>
            </a:endParaRPr>
          </a:p>
          <a:p>
            <a:pPr marL="342900" indent="-342900">
              <a:buClr>
                <a:srgbClr val="EC2179"/>
              </a:buClr>
              <a:buFont typeface="Arial" charset="0"/>
              <a:buChar char="•"/>
            </a:pPr>
            <a:r>
              <a:rPr lang="en-US" sz="2400" dirty="0">
                <a:solidFill>
                  <a:srgbClr val="595959"/>
                </a:solidFill>
              </a:rPr>
              <a:t>Kurzfristig</a:t>
            </a:r>
          </a:p>
          <a:p>
            <a:pPr marL="342900" indent="-342900">
              <a:buClr>
                <a:srgbClr val="EC2179"/>
              </a:buClr>
              <a:buFont typeface="Arial" charset="0"/>
              <a:buChar char="•"/>
            </a:pPr>
            <a:r>
              <a:rPr lang="en-US" sz="2400" dirty="0">
                <a:solidFill>
                  <a:srgbClr val="595959"/>
                </a:solidFill>
              </a:rPr>
              <a:t>Ziel ist es, einen "Verkauf abzuschließen" (d. h. jemanden zum Kauf Ihres Produkts zu bewegen)</a:t>
            </a:r>
          </a:p>
          <a:p>
            <a:pPr marL="342900" indent="-342900">
              <a:buClr>
                <a:srgbClr val="EC2179"/>
              </a:buClr>
              <a:buFont typeface="Arial" charset="0"/>
              <a:buChar char="•"/>
            </a:pPr>
            <a:r>
              <a:rPr lang="en-US" sz="2400" dirty="0">
                <a:solidFill>
                  <a:srgbClr val="595959"/>
                </a:solidFill>
              </a:rPr>
              <a:t>Die Verkaufsstrategie basiert auf dem einzelnen Käufer und darauf, was getan werden muss, damit er Ihnen sein Geld gibt oder auf die Schaltfläche "Kaufen" klickt.</a:t>
            </a:r>
          </a:p>
          <a:p>
            <a:endParaRPr lang="en-US" sz="2400" dirty="0"/>
          </a:p>
        </p:txBody>
      </p:sp>
    </p:spTree>
    <p:extLst>
      <p:ext uri="{BB962C8B-B14F-4D97-AF65-F5344CB8AC3E}">
        <p14:creationId xmlns:p14="http://schemas.microsoft.com/office/powerpoint/2010/main" val="36246063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Wer ist Ihr idealer Kunde?</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19794012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2" y="1757270"/>
            <a:ext cx="6633420" cy="3849918"/>
          </a:xfrm>
        </p:spPr>
        <p:txBody>
          <a:bodyPr lIns="91440" tIns="45720" rIns="91440" bIns="45720" anchor="t"/>
          <a:lstStyle/>
          <a:p>
            <a:pPr marL="0" indent="0"/>
            <a:r>
              <a:rPr lang="en-US" dirty="0">
                <a:cs typeface="Calibri"/>
              </a:rPr>
              <a:t>In den Modulen 1 und 2 haben wir uns auf die Zielmärkte konzentriert. Lassen Sie uns rekapitulieren: Wer ist Ihr idealer Kunde?   Sie haben das Problem, das Ihr Unternehmen löst, klar definiert, jetzt gehen Sie ein wenig tiefer und identifizieren</a:t>
            </a:r>
          </a:p>
          <a:p>
            <a:pPr marL="342900" indent="-342900">
              <a:buChar char="•"/>
            </a:pPr>
            <a:r>
              <a:rPr lang="en-US" dirty="0">
                <a:cs typeface="Calibri"/>
              </a:rPr>
              <a:t>Die Menschen, für die dieses Problem derzeit eine Herausforderung darstellt</a:t>
            </a:r>
          </a:p>
          <a:p>
            <a:pPr marL="342900" indent="-342900">
              <a:buChar char="•"/>
            </a:pPr>
            <a:r>
              <a:rPr lang="en-US" dirty="0">
                <a:cs typeface="Calibri"/>
              </a:rPr>
              <a:t>Die Menschen, die an Ihrer Lösung für dieses Problem interessiert sind</a:t>
            </a:r>
          </a:p>
          <a:p>
            <a:pPr marL="342900" indent="-342900">
              <a:buChar char="•"/>
            </a:pPr>
            <a:r>
              <a:rPr lang="en-US" dirty="0">
                <a:cs typeface="Calibri"/>
              </a:rPr>
              <a:t>Die Menschen, die Sie für Ihre Lösung angemessen bezahlen werden</a:t>
            </a:r>
          </a:p>
          <a:p>
            <a:pPr marL="342900" indent="-342900">
              <a:buChar char="•"/>
            </a:pPr>
            <a:endParaRPr lang="en-US" dirty="0">
              <a:cs typeface="Calibri"/>
            </a:endParaRPr>
          </a:p>
          <a:p>
            <a:endParaRPr lang="en-US" dirty="0">
              <a:cs typeface="Calibri"/>
            </a:endParaRPr>
          </a:p>
          <a:p>
            <a:endParaRPr lang="en-US" dirty="0">
              <a:cs typeface="Calibri"/>
            </a:endParaRPr>
          </a:p>
          <a:p>
            <a:endParaRPr lang="en-US" dirty="0">
              <a:cs typeface="Calibri"/>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lIns="91440" tIns="45720" rIns="91440" bIns="45720" anchor="t">
            <a:noAutofit/>
          </a:bodyPr>
          <a:lstStyle/>
          <a:p>
            <a:r>
              <a:rPr lang="en-US" dirty="0">
                <a:solidFill>
                  <a:schemeClr val="bg1"/>
                </a:solidFill>
              </a:rPr>
              <a:t>Wer ist Ihr idealer Kunde?</a:t>
            </a:r>
          </a:p>
        </p:txBody>
      </p:sp>
      <p:pic>
        <p:nvPicPr>
          <p:cNvPr id="6" name="Picture 5" descr="Person holding smiling emoji">
            <a:extLst>
              <a:ext uri="{FF2B5EF4-FFF2-40B4-BE49-F238E27FC236}">
                <a16:creationId xmlns:a16="http://schemas.microsoft.com/office/drawing/2014/main" id="{CC9D4ABF-C05D-E18A-4C93-0E571F74C540}"/>
              </a:ext>
            </a:extLst>
          </p:cNvPr>
          <p:cNvPicPr>
            <a:picLocks noChangeAspect="1"/>
          </p:cNvPicPr>
          <p:nvPr/>
        </p:nvPicPr>
        <p:blipFill>
          <a:blip r:embed="rId2"/>
          <a:srcRect l="33018" r="15086"/>
          <a:stretch/>
        </p:blipFill>
        <p:spPr>
          <a:xfrm>
            <a:off x="7292009" y="1504040"/>
            <a:ext cx="3551916" cy="3849919"/>
          </a:xfrm>
          <a:prstGeom prst="rect">
            <a:avLst/>
          </a:prstGeom>
        </p:spPr>
      </p:pic>
    </p:spTree>
    <p:extLst>
      <p:ext uri="{BB962C8B-B14F-4D97-AF65-F5344CB8AC3E}">
        <p14:creationId xmlns:p14="http://schemas.microsoft.com/office/powerpoint/2010/main" val="2473718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6694" y="1386234"/>
            <a:ext cx="10008355" cy="3849918"/>
          </a:xfrm>
        </p:spPr>
        <p:txBody>
          <a:bodyPr/>
          <a:lstStyle/>
          <a:p>
            <a:endParaRPr lang="en-US" sz="2000" dirty="0"/>
          </a:p>
          <a:p>
            <a:r>
              <a:rPr lang="en-US" sz="2000" b="1" dirty="0">
                <a:solidFill>
                  <a:srgbClr val="47B5C8"/>
                </a:solidFill>
              </a:rPr>
              <a:t>KENNTNISSE:  </a:t>
            </a:r>
          </a:p>
          <a:p>
            <a:pPr marL="342900" indent="-342900">
              <a:buFont typeface="Arial" panose="020B0604020202020204" pitchFamily="34" charset="0"/>
              <a:buChar char="•"/>
            </a:pPr>
            <a:r>
              <a:rPr lang="en-GB" sz="2000" dirty="0"/>
              <a:t>Verstehen Sie die grundlegenden Konzepte von Marketing und Vertrieb und wie sie zusammenhängen.</a:t>
            </a:r>
          </a:p>
          <a:p>
            <a:pPr marL="342900" indent="-342900">
              <a:buFont typeface="Arial" panose="020B0604020202020204" pitchFamily="34" charset="0"/>
              <a:buChar char="•"/>
            </a:pPr>
            <a:r>
              <a:rPr lang="en-GB" sz="2000" dirty="0"/>
              <a:t>Gewinnen Sie einen Einblick in die besonderen Herausforderungen und Chancen, mit denen unterrepräsentierte Unternehmer auf dem Markt konfrontiert sind.</a:t>
            </a:r>
          </a:p>
          <a:p>
            <a:pPr marL="342900" indent="-342900">
              <a:buFont typeface="Arial" panose="020B0604020202020204" pitchFamily="34" charset="0"/>
              <a:buChar char="•"/>
            </a:pPr>
            <a:r>
              <a:rPr lang="en-GB" sz="2000" dirty="0"/>
              <a:t>Lernen Sie verschiedene Marketingstrategien kennen, darunter digitales Marketing, Branding und Techniken zur Kundenbindung.</a:t>
            </a:r>
          </a:p>
          <a:p>
            <a:pPr marL="342900" indent="-342900">
              <a:buFont typeface="Arial" panose="020B0604020202020204" pitchFamily="34" charset="0"/>
              <a:buChar char="•"/>
            </a:pPr>
            <a:r>
              <a:rPr lang="en-GB" sz="2000" dirty="0"/>
              <a:t>Sie wissen, wie wichtig eine gut ausgearbeitete Vertriebsstrategie ist und wie sie mit den Marketingmaßnahmen abgestimmt werden kann, um den Geschäftserfolg zu steigern.</a:t>
            </a:r>
            <a:endParaRPr lang="en-US" sz="2000" dirty="0"/>
          </a:p>
          <a:p>
            <a:endParaRPr lang="en-US" sz="2000" dirty="0"/>
          </a:p>
          <a:p>
            <a:endParaRPr lang="en-US" sz="2000" dirty="0"/>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Lernergebnisse </a:t>
            </a:r>
          </a:p>
          <a:p>
            <a:endParaRPr lang="en-US"/>
          </a:p>
        </p:txBody>
      </p:sp>
    </p:spTree>
    <p:extLst>
      <p:ext uri="{BB962C8B-B14F-4D97-AF65-F5344CB8AC3E}">
        <p14:creationId xmlns:p14="http://schemas.microsoft.com/office/powerpoint/2010/main" val="24192272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ABE6423-92B0-DA90-4C8C-31569CDF08F1}"/>
              </a:ext>
            </a:extLst>
          </p:cNvPr>
          <p:cNvCxnSpPr>
            <a:cxnSpLocks/>
          </p:cNvCxnSpPr>
          <p:nvPr/>
        </p:nvCxnSpPr>
        <p:spPr>
          <a:xfrm>
            <a:off x="8944811" y="811962"/>
            <a:ext cx="0" cy="4926263"/>
          </a:xfrm>
          <a:prstGeom prst="line">
            <a:avLst/>
          </a:prstGeom>
          <a:ln>
            <a:solidFill>
              <a:srgbClr val="D9552F"/>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79A5D9A8-9653-9DDE-75CD-2B44B71F9772}"/>
              </a:ext>
            </a:extLst>
          </p:cNvPr>
          <p:cNvSpPr/>
          <p:nvPr/>
        </p:nvSpPr>
        <p:spPr>
          <a:xfrm>
            <a:off x="8482104" y="688295"/>
            <a:ext cx="916056" cy="916056"/>
          </a:xfrm>
          <a:prstGeom prst="ellipse">
            <a:avLst/>
          </a:pr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5" name="Freeform 1">
            <a:extLst>
              <a:ext uri="{FF2B5EF4-FFF2-40B4-BE49-F238E27FC236}">
                <a16:creationId xmlns:a16="http://schemas.microsoft.com/office/drawing/2014/main" id="{E740716E-E7F5-4152-9590-1701509BFD6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609BB1F2-4CB0-ECEC-8945-B728FD2C6C10}"/>
              </a:ext>
            </a:extLst>
          </p:cNvPr>
          <p:cNvSpPr>
            <a:spLocks noGrp="1"/>
          </p:cNvSpPr>
          <p:nvPr>
            <p:ph type="body" sz="quarter" idx="18"/>
          </p:nvPr>
        </p:nvSpPr>
        <p:spPr>
          <a:xfrm>
            <a:off x="944043" y="1718219"/>
            <a:ext cx="6512667" cy="1729570"/>
          </a:xfrm>
        </p:spPr>
        <p:txBody>
          <a:bodyPr lIns="91440" tIns="45720" rIns="91440" bIns="45720" anchor="t"/>
          <a:lstStyle/>
          <a:p>
            <a:pPr marL="0" indent="0"/>
            <a:r>
              <a:rPr lang="en-US" dirty="0">
                <a:cs typeface="Calibri"/>
              </a:rPr>
              <a:t>Im Marketing werden Ihre idealen Kunden als Ihr Zielmarkt bezeichnet.</a:t>
            </a:r>
          </a:p>
          <a:p>
            <a:pPr marL="0" indent="0"/>
            <a:r>
              <a:rPr lang="en-US" dirty="0">
                <a:cs typeface="Calibri"/>
              </a:rPr>
              <a:t>Eine der einfachsten und naheliegendsten Möglichkeiten, eine Zielgruppe zu beschreiben, sind ihre demografischen Merkmale.</a:t>
            </a:r>
          </a:p>
          <a:p>
            <a:pPr marL="0" indent="0"/>
            <a:r>
              <a:rPr lang="en-US" dirty="0">
                <a:cs typeface="Calibri"/>
              </a:rPr>
              <a:t>Die Erstellung von Kundenprofilen oder Personas hilft Ihnen, Ihren Zielmarkt und die verschiedenen Kunden zu verstehen, die Sie ansprechen müssen.  Ihre Ziele, ihre Probleme und ihre Bereitschaft, sich für Ihr Produkt oder Ihre Dienstleistung zu entscheiden </a:t>
            </a:r>
          </a:p>
          <a:p>
            <a:endParaRPr lang="en-US" dirty="0">
              <a:cs typeface="Calibri"/>
            </a:endParaRPr>
          </a:p>
        </p:txBody>
      </p:sp>
      <p:sp>
        <p:nvSpPr>
          <p:cNvPr id="3" name="Text Placeholder 2">
            <a:extLst>
              <a:ext uri="{FF2B5EF4-FFF2-40B4-BE49-F238E27FC236}">
                <a16:creationId xmlns:a16="http://schemas.microsoft.com/office/drawing/2014/main" id="{D0277570-4C49-600E-A769-6BEB17689924}"/>
              </a:ext>
            </a:extLst>
          </p:cNvPr>
          <p:cNvSpPr>
            <a:spLocks noGrp="1"/>
          </p:cNvSpPr>
          <p:nvPr>
            <p:ph type="body" sz="quarter" idx="16"/>
          </p:nvPr>
        </p:nvSpPr>
        <p:spPr>
          <a:xfrm>
            <a:off x="798381" y="745038"/>
            <a:ext cx="6278097" cy="853349"/>
          </a:xfrm>
        </p:spPr>
        <p:txBody>
          <a:bodyPr lIns="91440" tIns="45720" rIns="91440" bIns="45720" anchor="t">
            <a:noAutofit/>
          </a:bodyPr>
          <a:lstStyle/>
          <a:p>
            <a:r>
              <a:rPr lang="en-US">
                <a:solidFill>
                  <a:schemeClr val="bg1"/>
                </a:solidFill>
                <a:cs typeface="Calibri"/>
              </a:rPr>
              <a:t>Definieren Sie Ihren Zielmarkt</a:t>
            </a:r>
            <a:endParaRPr lang="en-US">
              <a:solidFill>
                <a:schemeClr val="bg1"/>
              </a:solidFill>
            </a:endParaRPr>
          </a:p>
        </p:txBody>
      </p:sp>
      <p:sp>
        <p:nvSpPr>
          <p:cNvPr id="13" name="Google Shape;522;p39">
            <a:extLst>
              <a:ext uri="{FF2B5EF4-FFF2-40B4-BE49-F238E27FC236}">
                <a16:creationId xmlns:a16="http://schemas.microsoft.com/office/drawing/2014/main" id="{C0364EBF-2017-5BA7-7267-120C5F64C6E1}"/>
              </a:ext>
            </a:extLst>
          </p:cNvPr>
          <p:cNvSpPr/>
          <p:nvPr/>
        </p:nvSpPr>
        <p:spPr>
          <a:xfrm>
            <a:off x="10648319" y="742716"/>
            <a:ext cx="602215" cy="639885"/>
          </a:xfrm>
          <a:custGeom>
            <a:avLst/>
            <a:gdLst/>
            <a:ahLst/>
            <a:cxnLst/>
            <a:rect l="l" t="t" r="r" b="b"/>
            <a:pathLst>
              <a:path w="10473" h="10474" fill="none" extrusionOk="0">
                <a:moveTo>
                  <a:pt x="0" y="10474"/>
                </a:moveTo>
                <a:lnTo>
                  <a:pt x="1047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 name="Google Shape;518;p39">
            <a:extLst>
              <a:ext uri="{FF2B5EF4-FFF2-40B4-BE49-F238E27FC236}">
                <a16:creationId xmlns:a16="http://schemas.microsoft.com/office/drawing/2014/main" id="{E14C6718-6EBA-2F89-33E0-74499CB8C129}"/>
              </a:ext>
            </a:extLst>
          </p:cNvPr>
          <p:cNvGrpSpPr/>
          <p:nvPr/>
        </p:nvGrpSpPr>
        <p:grpSpPr>
          <a:xfrm>
            <a:off x="8618773" y="850463"/>
            <a:ext cx="654961" cy="601570"/>
            <a:chOff x="1923675" y="1633650"/>
            <a:chExt cx="436000" cy="435975"/>
          </a:xfrm>
        </p:grpSpPr>
        <p:sp>
          <p:nvSpPr>
            <p:cNvPr id="15" name="Google Shape;519;p39">
              <a:extLst>
                <a:ext uri="{FF2B5EF4-FFF2-40B4-BE49-F238E27FC236}">
                  <a16:creationId xmlns:a16="http://schemas.microsoft.com/office/drawing/2014/main" id="{EEA79303-C59F-6099-01CF-A8FCE41EB175}"/>
                </a:ext>
              </a:extLst>
            </p:cNvPr>
            <p:cNvSpPr/>
            <p:nvPr/>
          </p:nvSpPr>
          <p:spPr>
            <a:xfrm>
              <a:off x="2209250" y="1633650"/>
              <a:ext cx="150425" cy="150425"/>
            </a:xfrm>
            <a:custGeom>
              <a:avLst/>
              <a:gdLst/>
              <a:ahLst/>
              <a:cxnLst/>
              <a:rect l="l" t="t" r="r" b="b"/>
              <a:pathLst>
                <a:path w="6017" h="6017" fill="none" extrusionOk="0">
                  <a:moveTo>
                    <a:pt x="5846" y="3605"/>
                  </a:moveTo>
                  <a:lnTo>
                    <a:pt x="2412" y="171"/>
                  </a:lnTo>
                  <a:lnTo>
                    <a:pt x="2412" y="171"/>
                  </a:lnTo>
                  <a:lnTo>
                    <a:pt x="2314" y="98"/>
                  </a:lnTo>
                  <a:lnTo>
                    <a:pt x="2217" y="49"/>
                  </a:lnTo>
                  <a:lnTo>
                    <a:pt x="2095" y="25"/>
                  </a:lnTo>
                  <a:lnTo>
                    <a:pt x="1997" y="1"/>
                  </a:lnTo>
                  <a:lnTo>
                    <a:pt x="1876" y="25"/>
                  </a:lnTo>
                  <a:lnTo>
                    <a:pt x="1778" y="49"/>
                  </a:lnTo>
                  <a:lnTo>
                    <a:pt x="1681" y="98"/>
                  </a:lnTo>
                  <a:lnTo>
                    <a:pt x="1583" y="171"/>
                  </a:lnTo>
                  <a:lnTo>
                    <a:pt x="0" y="1778"/>
                  </a:lnTo>
                  <a:lnTo>
                    <a:pt x="4238" y="6016"/>
                  </a:lnTo>
                  <a:lnTo>
                    <a:pt x="5846" y="4433"/>
                  </a:lnTo>
                  <a:lnTo>
                    <a:pt x="5846" y="4433"/>
                  </a:lnTo>
                  <a:lnTo>
                    <a:pt x="5919" y="4336"/>
                  </a:lnTo>
                  <a:lnTo>
                    <a:pt x="5967" y="4238"/>
                  </a:lnTo>
                  <a:lnTo>
                    <a:pt x="5992" y="4141"/>
                  </a:lnTo>
                  <a:lnTo>
                    <a:pt x="6016" y="4019"/>
                  </a:lnTo>
                  <a:lnTo>
                    <a:pt x="5992" y="3922"/>
                  </a:lnTo>
                  <a:lnTo>
                    <a:pt x="5967" y="3800"/>
                  </a:lnTo>
                  <a:lnTo>
                    <a:pt x="5919" y="3703"/>
                  </a:lnTo>
                  <a:lnTo>
                    <a:pt x="5846" y="3605"/>
                  </a:lnTo>
                  <a:lnTo>
                    <a:pt x="5846" y="3605"/>
                  </a:lnTo>
                  <a:close/>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520;p39">
              <a:extLst>
                <a:ext uri="{FF2B5EF4-FFF2-40B4-BE49-F238E27FC236}">
                  <a16:creationId xmlns:a16="http://schemas.microsoft.com/office/drawing/2014/main" id="{3D1D95B7-031C-C9A3-8C30-57E88DFAFF8E}"/>
                </a:ext>
              </a:extLst>
            </p:cNvPr>
            <p:cNvSpPr/>
            <p:nvPr/>
          </p:nvSpPr>
          <p:spPr>
            <a:xfrm>
              <a:off x="2019900" y="1757250"/>
              <a:ext cx="261825" cy="261850"/>
            </a:xfrm>
            <a:custGeom>
              <a:avLst/>
              <a:gdLst/>
              <a:ahLst/>
              <a:cxnLst/>
              <a:rect l="l" t="t" r="r" b="b"/>
              <a:pathLst>
                <a:path w="10473" h="10474" fill="none" extrusionOk="0">
                  <a:moveTo>
                    <a:pt x="10473" y="1"/>
                  </a:moveTo>
                  <a:lnTo>
                    <a:pt x="0" y="10473"/>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521;p39">
              <a:extLst>
                <a:ext uri="{FF2B5EF4-FFF2-40B4-BE49-F238E27FC236}">
                  <a16:creationId xmlns:a16="http://schemas.microsoft.com/office/drawing/2014/main" id="{9C4D51F4-9B1E-7198-567C-9442A53A7F88}"/>
                </a:ext>
              </a:extLst>
            </p:cNvPr>
            <p:cNvSpPr/>
            <p:nvPr/>
          </p:nvSpPr>
          <p:spPr>
            <a:xfrm>
              <a:off x="1923675" y="1681150"/>
              <a:ext cx="388500" cy="388475"/>
            </a:xfrm>
            <a:custGeom>
              <a:avLst/>
              <a:gdLst/>
              <a:ahLst/>
              <a:cxnLst/>
              <a:rect l="l" t="t" r="r" b="b"/>
              <a:pathLst>
                <a:path w="15540" h="15539" fill="none" extrusionOk="0">
                  <a:moveTo>
                    <a:pt x="11277" y="0"/>
                  </a:moveTo>
                  <a:lnTo>
                    <a:pt x="756" y="10546"/>
                  </a:lnTo>
                  <a:lnTo>
                    <a:pt x="756" y="10546"/>
                  </a:lnTo>
                  <a:lnTo>
                    <a:pt x="683" y="10619"/>
                  </a:lnTo>
                  <a:lnTo>
                    <a:pt x="634" y="10692"/>
                  </a:lnTo>
                  <a:lnTo>
                    <a:pt x="610" y="10765"/>
                  </a:lnTo>
                  <a:lnTo>
                    <a:pt x="585" y="10863"/>
                  </a:lnTo>
                  <a:lnTo>
                    <a:pt x="1" y="14881"/>
                  </a:lnTo>
                  <a:lnTo>
                    <a:pt x="1" y="14881"/>
                  </a:lnTo>
                  <a:lnTo>
                    <a:pt x="1" y="15003"/>
                  </a:lnTo>
                  <a:lnTo>
                    <a:pt x="25" y="15149"/>
                  </a:lnTo>
                  <a:lnTo>
                    <a:pt x="98" y="15271"/>
                  </a:lnTo>
                  <a:lnTo>
                    <a:pt x="171" y="15368"/>
                  </a:lnTo>
                  <a:lnTo>
                    <a:pt x="171" y="15368"/>
                  </a:lnTo>
                  <a:lnTo>
                    <a:pt x="269" y="15441"/>
                  </a:lnTo>
                  <a:lnTo>
                    <a:pt x="366" y="15490"/>
                  </a:lnTo>
                  <a:lnTo>
                    <a:pt x="464" y="15514"/>
                  </a:lnTo>
                  <a:lnTo>
                    <a:pt x="585" y="15539"/>
                  </a:lnTo>
                  <a:lnTo>
                    <a:pt x="585" y="15539"/>
                  </a:lnTo>
                  <a:lnTo>
                    <a:pt x="659" y="15539"/>
                  </a:lnTo>
                  <a:lnTo>
                    <a:pt x="4677" y="14954"/>
                  </a:lnTo>
                  <a:lnTo>
                    <a:pt x="4677" y="14954"/>
                  </a:lnTo>
                  <a:lnTo>
                    <a:pt x="4848" y="14905"/>
                  </a:lnTo>
                  <a:lnTo>
                    <a:pt x="4921" y="14857"/>
                  </a:lnTo>
                  <a:lnTo>
                    <a:pt x="4994" y="14784"/>
                  </a:lnTo>
                  <a:lnTo>
                    <a:pt x="15539" y="426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522;p39">
              <a:extLst>
                <a:ext uri="{FF2B5EF4-FFF2-40B4-BE49-F238E27FC236}">
                  <a16:creationId xmlns:a16="http://schemas.microsoft.com/office/drawing/2014/main" id="{D2EAA11B-01AB-22E2-5EDE-99EEDAC2449B}"/>
                </a:ext>
              </a:extLst>
            </p:cNvPr>
            <p:cNvSpPr/>
            <p:nvPr/>
          </p:nvSpPr>
          <p:spPr>
            <a:xfrm>
              <a:off x="1974225" y="1711575"/>
              <a:ext cx="261825" cy="261850"/>
            </a:xfrm>
            <a:custGeom>
              <a:avLst/>
              <a:gdLst/>
              <a:ahLst/>
              <a:cxnLst/>
              <a:rect l="l" t="t" r="r" b="b"/>
              <a:pathLst>
                <a:path w="10473" h="10474" fill="none" extrusionOk="0">
                  <a:moveTo>
                    <a:pt x="0" y="10474"/>
                  </a:moveTo>
                  <a:lnTo>
                    <a:pt x="1047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523;p39">
              <a:extLst>
                <a:ext uri="{FF2B5EF4-FFF2-40B4-BE49-F238E27FC236}">
                  <a16:creationId xmlns:a16="http://schemas.microsoft.com/office/drawing/2014/main" id="{492EAD95-B9AF-EBCB-5E45-2F3220B9E01E}"/>
                </a:ext>
              </a:extLst>
            </p:cNvPr>
            <p:cNvSpPr/>
            <p:nvPr/>
          </p:nvSpPr>
          <p:spPr>
            <a:xfrm>
              <a:off x="1934650" y="2014200"/>
              <a:ext cx="44475" cy="44475"/>
            </a:xfrm>
            <a:custGeom>
              <a:avLst/>
              <a:gdLst/>
              <a:ahLst/>
              <a:cxnLst/>
              <a:rect l="l" t="t" r="r" b="b"/>
              <a:pathLst>
                <a:path w="1779" h="1779" fill="none" extrusionOk="0">
                  <a:moveTo>
                    <a:pt x="1778" y="1778"/>
                  </a:moveTo>
                  <a:lnTo>
                    <a:pt x="0"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524;p39">
              <a:extLst>
                <a:ext uri="{FF2B5EF4-FFF2-40B4-BE49-F238E27FC236}">
                  <a16:creationId xmlns:a16="http://schemas.microsoft.com/office/drawing/2014/main" id="{1B08E864-2732-7FDA-251F-F4F70B2AF660}"/>
                </a:ext>
              </a:extLst>
            </p:cNvPr>
            <p:cNvSpPr/>
            <p:nvPr/>
          </p:nvSpPr>
          <p:spPr>
            <a:xfrm>
              <a:off x="1944375" y="1947225"/>
              <a:ext cx="101725" cy="101700"/>
            </a:xfrm>
            <a:custGeom>
              <a:avLst/>
              <a:gdLst/>
              <a:ahLst/>
              <a:cxnLst/>
              <a:rect l="l" t="t" r="r" b="b"/>
              <a:pathLst>
                <a:path w="4069" h="4068" fill="none" extrusionOk="0">
                  <a:moveTo>
                    <a:pt x="1" y="49"/>
                  </a:moveTo>
                  <a:lnTo>
                    <a:pt x="1" y="49"/>
                  </a:lnTo>
                  <a:lnTo>
                    <a:pt x="25" y="0"/>
                  </a:lnTo>
                  <a:lnTo>
                    <a:pt x="25" y="0"/>
                  </a:lnTo>
                  <a:lnTo>
                    <a:pt x="4068" y="4043"/>
                  </a:lnTo>
                  <a:lnTo>
                    <a:pt x="4068" y="4043"/>
                  </a:lnTo>
                  <a:lnTo>
                    <a:pt x="4068" y="4043"/>
                  </a:lnTo>
                  <a:lnTo>
                    <a:pt x="4020" y="4068"/>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 name="TextBox 21">
            <a:extLst>
              <a:ext uri="{FF2B5EF4-FFF2-40B4-BE49-F238E27FC236}">
                <a16:creationId xmlns:a16="http://schemas.microsoft.com/office/drawing/2014/main" id="{D1A8EAA0-3566-2DB8-E316-6537570C74D3}"/>
              </a:ext>
            </a:extLst>
          </p:cNvPr>
          <p:cNvSpPr txBox="1"/>
          <p:nvPr/>
        </p:nvSpPr>
        <p:spPr>
          <a:xfrm>
            <a:off x="9188535" y="1718219"/>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dirty="0" err="1">
                <a:solidFill>
                  <a:srgbClr val="D9552F"/>
                </a:solidFill>
                <a:cs typeface="Calibri"/>
              </a:rPr>
              <a:t>Übung</a:t>
            </a:r>
            <a:endParaRPr lang="en-US" b="1" dirty="0">
              <a:solidFill>
                <a:srgbClr val="D9552F"/>
              </a:solidFill>
            </a:endParaRPr>
          </a:p>
        </p:txBody>
      </p:sp>
      <p:sp>
        <p:nvSpPr>
          <p:cNvPr id="23" name="Text Placeholder 3">
            <a:extLst>
              <a:ext uri="{FF2B5EF4-FFF2-40B4-BE49-F238E27FC236}">
                <a16:creationId xmlns:a16="http://schemas.microsoft.com/office/drawing/2014/main" id="{642D1B4C-D94C-6458-AE88-5D9D31D84108}"/>
              </a:ext>
            </a:extLst>
          </p:cNvPr>
          <p:cNvSpPr>
            <a:spLocks noGrp="1"/>
          </p:cNvSpPr>
          <p:nvPr/>
        </p:nvSpPr>
        <p:spPr>
          <a:xfrm>
            <a:off x="795131" y="4449509"/>
            <a:ext cx="6810493" cy="985284"/>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a:buNone/>
              <a:defRPr sz="3000" i="1" kern="1200" baseline="0">
                <a:solidFill>
                  <a:srgbClr val="00384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l"/>
            <a:endParaRPr lang="en-US" sz="2400" i="0">
              <a:solidFill>
                <a:srgbClr val="595959"/>
              </a:solidFill>
              <a:cs typeface="Calibri"/>
            </a:endParaRPr>
          </a:p>
        </p:txBody>
      </p:sp>
    </p:spTree>
    <p:extLst>
      <p:ext uri="{BB962C8B-B14F-4D97-AF65-F5344CB8AC3E}">
        <p14:creationId xmlns:p14="http://schemas.microsoft.com/office/powerpoint/2010/main" val="36797544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8A68D502-33E6-82D4-4BC1-647956202BFA}"/>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25D9722E-9932-686A-AE99-22038F2553ED}"/>
              </a:ext>
            </a:extLst>
          </p:cNvPr>
          <p:cNvSpPr>
            <a:spLocks noGrp="1"/>
          </p:cNvSpPr>
          <p:nvPr>
            <p:ph type="body" sz="quarter" idx="18"/>
          </p:nvPr>
        </p:nvSpPr>
        <p:spPr>
          <a:xfrm>
            <a:off x="680661" y="1653735"/>
            <a:ext cx="8837691" cy="3849918"/>
          </a:xfrm>
        </p:spPr>
        <p:txBody>
          <a:bodyPr lIns="91440" tIns="45720" rIns="91440" bIns="45720" anchor="t"/>
          <a:lstStyle/>
          <a:p>
            <a:r>
              <a:rPr lang="en-GB" sz="2000" b="1" dirty="0"/>
              <a:t>Demographische Details:</a:t>
            </a:r>
            <a:endParaRPr lang="en-GB" sz="2000" dirty="0"/>
          </a:p>
          <a:p>
            <a:pPr>
              <a:buFont typeface="Arial" panose="020B0604020202020204" pitchFamily="34" charset="0"/>
              <a:buChar char="•"/>
            </a:pPr>
            <a:r>
              <a:rPr lang="en-GB" sz="2000" b="1" dirty="0"/>
              <a:t>Altersbereich</a:t>
            </a:r>
            <a:r>
              <a:rPr lang="en-GB" sz="2000" dirty="0"/>
              <a:t>: Definieren Sie die Altersgruppe Ihrer Kunden. Sind es Millennials, Gen Z, Gen X oder Boomers? Die Kenntnis der Altersspanne hilft bei der Anpassung der Botschaften und der Auswahl geeigneter Marketingkanäle.</a:t>
            </a:r>
          </a:p>
          <a:p>
            <a:pPr>
              <a:buFont typeface="Arial" panose="020B0604020202020204" pitchFamily="34" charset="0"/>
              <a:buChar char="•"/>
            </a:pPr>
            <a:r>
              <a:rPr lang="en-GB" sz="2000" b="1" dirty="0"/>
              <a:t>Geschlechterzusammensetzung</a:t>
            </a:r>
            <a:r>
              <a:rPr lang="en-GB" sz="2000" dirty="0"/>
              <a:t>: Bestimmen Sie, ob Ihr Produkt vorwiegend Männer oder Frauen anspricht oder ob es geschlechtsneutral ist. Dies wirkt sich auf das Produktdesign, die Marketing-Bilder und die Werbebotschaften aus.</a:t>
            </a:r>
          </a:p>
          <a:p>
            <a:pPr>
              <a:buFont typeface="Arial" panose="020B0604020202020204" pitchFamily="34" charset="0"/>
              <a:buChar char="•"/>
            </a:pPr>
            <a:r>
              <a:rPr lang="en-GB" sz="2000" b="1" dirty="0"/>
              <a:t>Ehe- und Familienstand</a:t>
            </a:r>
            <a:r>
              <a:rPr lang="en-GB" sz="2000" dirty="0"/>
              <a:t>: Sind Ihre typischen Kunden alleinstehend, verheiratet oder in einer Beziehung? Haben sie Kinder oder sind sie wahrscheinlich Pfleger für ältere Eltern? Das Verständnis der Familiendynamik kann sich auf Produktangebote und Marketingkampagnen auswirken.</a:t>
            </a:r>
          </a:p>
          <a:p>
            <a:pPr marL="342900" indent="-342900">
              <a:buChar char="•"/>
            </a:pPr>
            <a:endParaRPr lang="en-US" sz="2000" dirty="0">
              <a:cs typeface="Calibri" panose="020F0502020204030204"/>
            </a:endParaRPr>
          </a:p>
        </p:txBody>
      </p:sp>
      <p:sp>
        <p:nvSpPr>
          <p:cNvPr id="3" name="Text Placeholder 2">
            <a:extLst>
              <a:ext uri="{FF2B5EF4-FFF2-40B4-BE49-F238E27FC236}">
                <a16:creationId xmlns:a16="http://schemas.microsoft.com/office/drawing/2014/main" id="{FA8F15C6-40D0-6F14-66D3-76DD7210B45A}"/>
              </a:ext>
            </a:extLst>
          </p:cNvPr>
          <p:cNvSpPr>
            <a:spLocks noGrp="1"/>
          </p:cNvSpPr>
          <p:nvPr>
            <p:ph type="body" sz="quarter" idx="16"/>
          </p:nvPr>
        </p:nvSpPr>
        <p:spPr>
          <a:xfrm>
            <a:off x="798381" y="761603"/>
            <a:ext cx="5872249" cy="803654"/>
          </a:xfrm>
        </p:spPr>
        <p:txBody>
          <a:bodyPr lIns="91440" tIns="45720" rIns="91440" bIns="45720" anchor="t">
            <a:noAutofit/>
          </a:bodyPr>
          <a:lstStyle/>
          <a:p>
            <a:r>
              <a:rPr lang="en-US" dirty="0">
                <a:solidFill>
                  <a:schemeClr val="bg1"/>
                </a:solidFill>
                <a:cs typeface="Calibri"/>
              </a:rPr>
              <a:t>Definieren Sie Ihren Zielmarkt</a:t>
            </a:r>
            <a:endParaRPr lang="en-US" dirty="0"/>
          </a:p>
        </p:txBody>
      </p:sp>
      <p:pic>
        <p:nvPicPr>
          <p:cNvPr id="14" name="Picture 13" descr="Elderly woman with hand on chin">
            <a:extLst>
              <a:ext uri="{FF2B5EF4-FFF2-40B4-BE49-F238E27FC236}">
                <a16:creationId xmlns:a16="http://schemas.microsoft.com/office/drawing/2014/main" id="{93BB4E86-59B4-E561-FE11-0E0FDA6F1D16}"/>
              </a:ext>
            </a:extLst>
          </p:cNvPr>
          <p:cNvPicPr>
            <a:picLocks noChangeAspect="1"/>
          </p:cNvPicPr>
          <p:nvPr/>
        </p:nvPicPr>
        <p:blipFill>
          <a:blip r:embed="rId2"/>
          <a:stretch>
            <a:fillRect/>
          </a:stretch>
        </p:blipFill>
        <p:spPr>
          <a:xfrm>
            <a:off x="10389147" y="4857124"/>
            <a:ext cx="1055278" cy="1293057"/>
          </a:xfrm>
          <a:prstGeom prst="rect">
            <a:avLst/>
          </a:prstGeom>
        </p:spPr>
      </p:pic>
      <p:pic>
        <p:nvPicPr>
          <p:cNvPr id="16" name="Picture 15" descr="Young boy explaining">
            <a:extLst>
              <a:ext uri="{FF2B5EF4-FFF2-40B4-BE49-F238E27FC236}">
                <a16:creationId xmlns:a16="http://schemas.microsoft.com/office/drawing/2014/main" id="{2DF4AAEA-9CC3-C6C3-2DF3-DDB5A7FB4F0C}"/>
              </a:ext>
            </a:extLst>
          </p:cNvPr>
          <p:cNvPicPr>
            <a:picLocks noChangeAspect="1"/>
          </p:cNvPicPr>
          <p:nvPr/>
        </p:nvPicPr>
        <p:blipFill>
          <a:blip r:embed="rId3"/>
          <a:stretch>
            <a:fillRect/>
          </a:stretch>
        </p:blipFill>
        <p:spPr>
          <a:xfrm>
            <a:off x="10608135" y="93754"/>
            <a:ext cx="1047696" cy="2139351"/>
          </a:xfrm>
          <a:prstGeom prst="rect">
            <a:avLst/>
          </a:prstGeom>
        </p:spPr>
      </p:pic>
      <p:pic>
        <p:nvPicPr>
          <p:cNvPr id="18" name="Picture 17" descr="Businessman using phone">
            <a:extLst>
              <a:ext uri="{FF2B5EF4-FFF2-40B4-BE49-F238E27FC236}">
                <a16:creationId xmlns:a16="http://schemas.microsoft.com/office/drawing/2014/main" id="{37A2E8A5-F932-2CED-76B5-156CF88CC0B1}"/>
              </a:ext>
            </a:extLst>
          </p:cNvPr>
          <p:cNvPicPr>
            <a:picLocks noChangeAspect="1"/>
          </p:cNvPicPr>
          <p:nvPr/>
        </p:nvPicPr>
        <p:blipFill>
          <a:blip r:embed="rId4"/>
          <a:stretch>
            <a:fillRect/>
          </a:stretch>
        </p:blipFill>
        <p:spPr>
          <a:xfrm>
            <a:off x="9641572" y="1642324"/>
            <a:ext cx="1275214" cy="3487083"/>
          </a:xfrm>
          <a:prstGeom prst="rect">
            <a:avLst/>
          </a:prstGeom>
        </p:spPr>
      </p:pic>
      <p:pic>
        <p:nvPicPr>
          <p:cNvPr id="20" name="Picture 19" descr="Businesswoman holding tablet">
            <a:extLst>
              <a:ext uri="{FF2B5EF4-FFF2-40B4-BE49-F238E27FC236}">
                <a16:creationId xmlns:a16="http://schemas.microsoft.com/office/drawing/2014/main" id="{DEF4652A-F668-4B48-A763-1BCF3A02E878}"/>
              </a:ext>
            </a:extLst>
          </p:cNvPr>
          <p:cNvPicPr>
            <a:picLocks noChangeAspect="1"/>
          </p:cNvPicPr>
          <p:nvPr/>
        </p:nvPicPr>
        <p:blipFill>
          <a:blip r:embed="rId5"/>
          <a:stretch>
            <a:fillRect/>
          </a:stretch>
        </p:blipFill>
        <p:spPr>
          <a:xfrm>
            <a:off x="11163634" y="2233105"/>
            <a:ext cx="1028366" cy="3079630"/>
          </a:xfrm>
          <a:prstGeom prst="rect">
            <a:avLst/>
          </a:prstGeom>
        </p:spPr>
      </p:pic>
    </p:spTree>
    <p:extLst>
      <p:ext uri="{BB962C8B-B14F-4D97-AF65-F5344CB8AC3E}">
        <p14:creationId xmlns:p14="http://schemas.microsoft.com/office/powerpoint/2010/main" val="3407630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8A68D502-33E6-82D4-4BC1-647956202BFA}"/>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25D9722E-9932-686A-AE99-22038F2553ED}"/>
              </a:ext>
            </a:extLst>
          </p:cNvPr>
          <p:cNvSpPr>
            <a:spLocks noGrp="1"/>
          </p:cNvSpPr>
          <p:nvPr>
            <p:ph type="body" sz="quarter" idx="18"/>
          </p:nvPr>
        </p:nvSpPr>
        <p:spPr>
          <a:xfrm>
            <a:off x="680661" y="1653735"/>
            <a:ext cx="8837691" cy="3849918"/>
          </a:xfrm>
        </p:spPr>
        <p:txBody>
          <a:bodyPr lIns="91440" tIns="45720" rIns="91440" bIns="45720" anchor="t"/>
          <a:lstStyle/>
          <a:p>
            <a:r>
              <a:rPr lang="en-GB" sz="2000" b="1" dirty="0"/>
              <a:t>Geografischer und sozioökonomischer Kontext:</a:t>
            </a:r>
            <a:endParaRPr lang="en-GB" sz="2000" dirty="0"/>
          </a:p>
          <a:p>
            <a:pPr>
              <a:buFont typeface="Arial" panose="020B0604020202020204" pitchFamily="34" charset="0"/>
              <a:buChar char="•"/>
            </a:pPr>
            <a:r>
              <a:rPr lang="en-GB" sz="2000" b="1" dirty="0"/>
              <a:t>Wohnort</a:t>
            </a:r>
            <a:r>
              <a:rPr lang="en-GB" sz="2000" dirty="0"/>
              <a:t>: Wo wohnen Ihre Kunden? Befinden sie sich in städtischen, vorstädtischen oder ländlichen Gebieten? Der geografische Standort kann sich auf die Produktverfügbarkeit, die Marketingstrategien und sogar die Preisgestaltung auswirken.</a:t>
            </a:r>
          </a:p>
          <a:p>
            <a:pPr>
              <a:buFont typeface="Arial" panose="020B0604020202020204" pitchFamily="34" charset="0"/>
              <a:buChar char="•"/>
            </a:pPr>
            <a:r>
              <a:rPr lang="en-GB" sz="2000" b="1" dirty="0"/>
              <a:t>Arbeitsumgebung</a:t>
            </a:r>
            <a:r>
              <a:rPr lang="en-GB" sz="2000" dirty="0"/>
              <a:t>: Überlegen Sie, ob Ihre Kunden im Büro oder von zu Hause aus arbeiten oder in einem Bereich tätig sind, der körperliche Anwesenheit erfordert, z. B. im Gesundheitswesen oder im Baugewerbe.</a:t>
            </a:r>
          </a:p>
          <a:p>
            <a:pPr>
              <a:buFont typeface="Arial" panose="020B0604020202020204" pitchFamily="34" charset="0"/>
              <a:buChar char="•"/>
            </a:pPr>
            <a:r>
              <a:rPr lang="en-GB" sz="2000" b="1" dirty="0"/>
              <a:t>Beruf und Einkommen</a:t>
            </a:r>
            <a:r>
              <a:rPr lang="en-GB" sz="2000" dirty="0"/>
              <a:t>: In welchen Branchen arbeiten sie, und welche Aufgaben haben sie? Die Kenntnis ihres Einkommensniveaus hilft, ihre Kaufkraft und Preissensibilität zu bestimmen.</a:t>
            </a:r>
          </a:p>
          <a:p>
            <a:pPr marL="342900" indent="-342900">
              <a:buChar char="•"/>
            </a:pPr>
            <a:endParaRPr lang="en-US" sz="2000" dirty="0">
              <a:cs typeface="Calibri" panose="020F0502020204030204"/>
            </a:endParaRPr>
          </a:p>
        </p:txBody>
      </p:sp>
      <p:sp>
        <p:nvSpPr>
          <p:cNvPr id="3" name="Text Placeholder 2">
            <a:extLst>
              <a:ext uri="{FF2B5EF4-FFF2-40B4-BE49-F238E27FC236}">
                <a16:creationId xmlns:a16="http://schemas.microsoft.com/office/drawing/2014/main" id="{FA8F15C6-40D0-6F14-66D3-76DD7210B45A}"/>
              </a:ext>
            </a:extLst>
          </p:cNvPr>
          <p:cNvSpPr>
            <a:spLocks noGrp="1"/>
          </p:cNvSpPr>
          <p:nvPr>
            <p:ph type="body" sz="quarter" idx="16"/>
          </p:nvPr>
        </p:nvSpPr>
        <p:spPr>
          <a:xfrm>
            <a:off x="798381" y="761603"/>
            <a:ext cx="5872249" cy="803654"/>
          </a:xfrm>
        </p:spPr>
        <p:txBody>
          <a:bodyPr lIns="91440" tIns="45720" rIns="91440" bIns="45720" anchor="t">
            <a:noAutofit/>
          </a:bodyPr>
          <a:lstStyle/>
          <a:p>
            <a:r>
              <a:rPr lang="en-US" dirty="0">
                <a:solidFill>
                  <a:schemeClr val="bg1"/>
                </a:solidFill>
                <a:cs typeface="Calibri"/>
              </a:rPr>
              <a:t>Definieren Sie Ihren Zielmarkt</a:t>
            </a:r>
            <a:endParaRPr lang="en-US" dirty="0"/>
          </a:p>
        </p:txBody>
      </p:sp>
      <p:pic>
        <p:nvPicPr>
          <p:cNvPr id="14" name="Picture 13" descr="Elderly woman with hand on chin">
            <a:extLst>
              <a:ext uri="{FF2B5EF4-FFF2-40B4-BE49-F238E27FC236}">
                <a16:creationId xmlns:a16="http://schemas.microsoft.com/office/drawing/2014/main" id="{93BB4E86-59B4-E561-FE11-0E0FDA6F1D16}"/>
              </a:ext>
            </a:extLst>
          </p:cNvPr>
          <p:cNvPicPr>
            <a:picLocks noChangeAspect="1"/>
          </p:cNvPicPr>
          <p:nvPr/>
        </p:nvPicPr>
        <p:blipFill>
          <a:blip r:embed="rId2"/>
          <a:stretch>
            <a:fillRect/>
          </a:stretch>
        </p:blipFill>
        <p:spPr>
          <a:xfrm>
            <a:off x="10389147" y="4857124"/>
            <a:ext cx="1055278" cy="1293057"/>
          </a:xfrm>
          <a:prstGeom prst="rect">
            <a:avLst/>
          </a:prstGeom>
        </p:spPr>
      </p:pic>
      <p:pic>
        <p:nvPicPr>
          <p:cNvPr id="16" name="Picture 15" descr="Young boy explaining">
            <a:extLst>
              <a:ext uri="{FF2B5EF4-FFF2-40B4-BE49-F238E27FC236}">
                <a16:creationId xmlns:a16="http://schemas.microsoft.com/office/drawing/2014/main" id="{2DF4AAEA-9CC3-C6C3-2DF3-DDB5A7FB4F0C}"/>
              </a:ext>
            </a:extLst>
          </p:cNvPr>
          <p:cNvPicPr>
            <a:picLocks noChangeAspect="1"/>
          </p:cNvPicPr>
          <p:nvPr/>
        </p:nvPicPr>
        <p:blipFill>
          <a:blip r:embed="rId3"/>
          <a:stretch>
            <a:fillRect/>
          </a:stretch>
        </p:blipFill>
        <p:spPr>
          <a:xfrm>
            <a:off x="10608135" y="93754"/>
            <a:ext cx="1047696" cy="2139351"/>
          </a:xfrm>
          <a:prstGeom prst="rect">
            <a:avLst/>
          </a:prstGeom>
        </p:spPr>
      </p:pic>
      <p:pic>
        <p:nvPicPr>
          <p:cNvPr id="18" name="Picture 17" descr="Businessman using phone">
            <a:extLst>
              <a:ext uri="{FF2B5EF4-FFF2-40B4-BE49-F238E27FC236}">
                <a16:creationId xmlns:a16="http://schemas.microsoft.com/office/drawing/2014/main" id="{37A2E8A5-F932-2CED-76B5-156CF88CC0B1}"/>
              </a:ext>
            </a:extLst>
          </p:cNvPr>
          <p:cNvPicPr>
            <a:picLocks noChangeAspect="1"/>
          </p:cNvPicPr>
          <p:nvPr/>
        </p:nvPicPr>
        <p:blipFill>
          <a:blip r:embed="rId4"/>
          <a:stretch>
            <a:fillRect/>
          </a:stretch>
        </p:blipFill>
        <p:spPr>
          <a:xfrm>
            <a:off x="9641572" y="1642324"/>
            <a:ext cx="1275214" cy="3487083"/>
          </a:xfrm>
          <a:prstGeom prst="rect">
            <a:avLst/>
          </a:prstGeom>
        </p:spPr>
      </p:pic>
      <p:pic>
        <p:nvPicPr>
          <p:cNvPr id="20" name="Picture 19" descr="Businesswoman holding tablet">
            <a:extLst>
              <a:ext uri="{FF2B5EF4-FFF2-40B4-BE49-F238E27FC236}">
                <a16:creationId xmlns:a16="http://schemas.microsoft.com/office/drawing/2014/main" id="{DEF4652A-F668-4B48-A763-1BCF3A02E878}"/>
              </a:ext>
            </a:extLst>
          </p:cNvPr>
          <p:cNvPicPr>
            <a:picLocks noChangeAspect="1"/>
          </p:cNvPicPr>
          <p:nvPr/>
        </p:nvPicPr>
        <p:blipFill>
          <a:blip r:embed="rId5"/>
          <a:stretch>
            <a:fillRect/>
          </a:stretch>
        </p:blipFill>
        <p:spPr>
          <a:xfrm>
            <a:off x="11163634" y="2233105"/>
            <a:ext cx="1028366" cy="3079630"/>
          </a:xfrm>
          <a:prstGeom prst="rect">
            <a:avLst/>
          </a:prstGeom>
        </p:spPr>
      </p:pic>
    </p:spTree>
    <p:extLst>
      <p:ext uri="{BB962C8B-B14F-4D97-AF65-F5344CB8AC3E}">
        <p14:creationId xmlns:p14="http://schemas.microsoft.com/office/powerpoint/2010/main" val="20265032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8A68D502-33E6-82D4-4BC1-647956202BFA}"/>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25D9722E-9932-686A-AE99-22038F2553ED}"/>
              </a:ext>
            </a:extLst>
          </p:cNvPr>
          <p:cNvSpPr>
            <a:spLocks noGrp="1"/>
          </p:cNvSpPr>
          <p:nvPr>
            <p:ph type="body" sz="quarter" idx="18"/>
          </p:nvPr>
        </p:nvSpPr>
        <p:spPr>
          <a:xfrm>
            <a:off x="680661" y="1653735"/>
            <a:ext cx="8837691" cy="3849918"/>
          </a:xfrm>
        </p:spPr>
        <p:txBody>
          <a:bodyPr lIns="91440" tIns="45720" rIns="91440" bIns="45720" anchor="t"/>
          <a:lstStyle/>
          <a:p>
            <a:r>
              <a:rPr lang="en-GB" sz="2000" b="1" dirty="0"/>
              <a:t>Psychografische und verhaltensbezogene Einblicke:</a:t>
            </a:r>
            <a:endParaRPr lang="en-GB" sz="2000" dirty="0"/>
          </a:p>
          <a:p>
            <a:pPr>
              <a:buFont typeface="Arial" panose="020B0604020202020204" pitchFamily="34" charset="0"/>
              <a:buChar char="•"/>
            </a:pPr>
            <a:r>
              <a:rPr lang="en-GB" sz="2000" b="1" dirty="0"/>
              <a:t>Kulturelle Identität</a:t>
            </a:r>
            <a:r>
              <a:rPr lang="en-GB" sz="2000" dirty="0"/>
              <a:t>: Das Verständnis des kulturellen Hintergrunds Ihrer Kunden kann dazu beitragen, Botschaften zu verfassen, die auf kulturelle Resonanz stoßen, und mögliche kulturelle Unsensibilitäten zu vermeiden. Dazu gehören Sprachpräferenzen, kulturelle Werte und Traditionen.</a:t>
            </a:r>
          </a:p>
          <a:p>
            <a:pPr>
              <a:buFont typeface="Arial" panose="020B0604020202020204" pitchFamily="34" charset="0"/>
              <a:buChar char="•"/>
            </a:pPr>
            <a:r>
              <a:rPr lang="en-GB" sz="2000" b="1" dirty="0"/>
              <a:t>Soziale Gewohnheiten</a:t>
            </a:r>
            <a:r>
              <a:rPr lang="en-GB" sz="2000" dirty="0"/>
              <a:t>: Wie gehen Ihre Kunden am liebsten miteinander um? Sind sie in den sozialen Medien aktiv, besuchen sie Gemeinschaftsveranstaltungen oder bevorzugen sie intime Zusammenkünfte? Daraus lässt sich ableiten, worauf Sie Ihre Marketingaktivitäten oder das Sponsoring von Veranstaltungen konzentrieren sollten.</a:t>
            </a:r>
          </a:p>
          <a:p>
            <a:pPr>
              <a:buFont typeface="Arial" panose="020B0604020202020204" pitchFamily="34" charset="0"/>
              <a:buChar char="•"/>
            </a:pPr>
            <a:endParaRPr lang="en-GB" sz="2000" dirty="0"/>
          </a:p>
          <a:p>
            <a:pPr marL="342900" indent="-342900">
              <a:buChar char="•"/>
            </a:pPr>
            <a:endParaRPr lang="en-US" sz="2000" dirty="0">
              <a:cs typeface="Calibri" panose="020F0502020204030204"/>
            </a:endParaRPr>
          </a:p>
        </p:txBody>
      </p:sp>
      <p:sp>
        <p:nvSpPr>
          <p:cNvPr id="3" name="Text Placeholder 2">
            <a:extLst>
              <a:ext uri="{FF2B5EF4-FFF2-40B4-BE49-F238E27FC236}">
                <a16:creationId xmlns:a16="http://schemas.microsoft.com/office/drawing/2014/main" id="{FA8F15C6-40D0-6F14-66D3-76DD7210B45A}"/>
              </a:ext>
            </a:extLst>
          </p:cNvPr>
          <p:cNvSpPr>
            <a:spLocks noGrp="1"/>
          </p:cNvSpPr>
          <p:nvPr>
            <p:ph type="body" sz="quarter" idx="16"/>
          </p:nvPr>
        </p:nvSpPr>
        <p:spPr>
          <a:xfrm>
            <a:off x="798381" y="761603"/>
            <a:ext cx="5872249" cy="803654"/>
          </a:xfrm>
        </p:spPr>
        <p:txBody>
          <a:bodyPr lIns="91440" tIns="45720" rIns="91440" bIns="45720" anchor="t">
            <a:noAutofit/>
          </a:bodyPr>
          <a:lstStyle/>
          <a:p>
            <a:r>
              <a:rPr lang="en-US" dirty="0">
                <a:solidFill>
                  <a:schemeClr val="bg1"/>
                </a:solidFill>
                <a:cs typeface="Calibri"/>
              </a:rPr>
              <a:t>Definieren Sie Ihren Zielmarkt</a:t>
            </a:r>
            <a:endParaRPr lang="en-US" dirty="0"/>
          </a:p>
        </p:txBody>
      </p:sp>
      <p:pic>
        <p:nvPicPr>
          <p:cNvPr id="14" name="Picture 13" descr="Elderly woman with hand on chin">
            <a:extLst>
              <a:ext uri="{FF2B5EF4-FFF2-40B4-BE49-F238E27FC236}">
                <a16:creationId xmlns:a16="http://schemas.microsoft.com/office/drawing/2014/main" id="{93BB4E86-59B4-E561-FE11-0E0FDA6F1D16}"/>
              </a:ext>
            </a:extLst>
          </p:cNvPr>
          <p:cNvPicPr>
            <a:picLocks noChangeAspect="1"/>
          </p:cNvPicPr>
          <p:nvPr/>
        </p:nvPicPr>
        <p:blipFill>
          <a:blip r:embed="rId2"/>
          <a:stretch>
            <a:fillRect/>
          </a:stretch>
        </p:blipFill>
        <p:spPr>
          <a:xfrm>
            <a:off x="10389147" y="4857124"/>
            <a:ext cx="1055278" cy="1293057"/>
          </a:xfrm>
          <a:prstGeom prst="rect">
            <a:avLst/>
          </a:prstGeom>
        </p:spPr>
      </p:pic>
      <p:pic>
        <p:nvPicPr>
          <p:cNvPr id="16" name="Picture 15" descr="Young boy explaining">
            <a:extLst>
              <a:ext uri="{FF2B5EF4-FFF2-40B4-BE49-F238E27FC236}">
                <a16:creationId xmlns:a16="http://schemas.microsoft.com/office/drawing/2014/main" id="{2DF4AAEA-9CC3-C6C3-2DF3-DDB5A7FB4F0C}"/>
              </a:ext>
            </a:extLst>
          </p:cNvPr>
          <p:cNvPicPr>
            <a:picLocks noChangeAspect="1"/>
          </p:cNvPicPr>
          <p:nvPr/>
        </p:nvPicPr>
        <p:blipFill>
          <a:blip r:embed="rId3"/>
          <a:stretch>
            <a:fillRect/>
          </a:stretch>
        </p:blipFill>
        <p:spPr>
          <a:xfrm>
            <a:off x="10608135" y="93754"/>
            <a:ext cx="1047696" cy="2139351"/>
          </a:xfrm>
          <a:prstGeom prst="rect">
            <a:avLst/>
          </a:prstGeom>
        </p:spPr>
      </p:pic>
      <p:pic>
        <p:nvPicPr>
          <p:cNvPr id="18" name="Picture 17" descr="Businessman using phone">
            <a:extLst>
              <a:ext uri="{FF2B5EF4-FFF2-40B4-BE49-F238E27FC236}">
                <a16:creationId xmlns:a16="http://schemas.microsoft.com/office/drawing/2014/main" id="{37A2E8A5-F932-2CED-76B5-156CF88CC0B1}"/>
              </a:ext>
            </a:extLst>
          </p:cNvPr>
          <p:cNvPicPr>
            <a:picLocks noChangeAspect="1"/>
          </p:cNvPicPr>
          <p:nvPr/>
        </p:nvPicPr>
        <p:blipFill>
          <a:blip r:embed="rId4"/>
          <a:stretch>
            <a:fillRect/>
          </a:stretch>
        </p:blipFill>
        <p:spPr>
          <a:xfrm>
            <a:off x="9641572" y="1642324"/>
            <a:ext cx="1275214" cy="3487083"/>
          </a:xfrm>
          <a:prstGeom prst="rect">
            <a:avLst/>
          </a:prstGeom>
        </p:spPr>
      </p:pic>
      <p:pic>
        <p:nvPicPr>
          <p:cNvPr id="20" name="Picture 19" descr="Businesswoman holding tablet">
            <a:extLst>
              <a:ext uri="{FF2B5EF4-FFF2-40B4-BE49-F238E27FC236}">
                <a16:creationId xmlns:a16="http://schemas.microsoft.com/office/drawing/2014/main" id="{DEF4652A-F668-4B48-A763-1BCF3A02E878}"/>
              </a:ext>
            </a:extLst>
          </p:cNvPr>
          <p:cNvPicPr>
            <a:picLocks noChangeAspect="1"/>
          </p:cNvPicPr>
          <p:nvPr/>
        </p:nvPicPr>
        <p:blipFill>
          <a:blip r:embed="rId5"/>
          <a:stretch>
            <a:fillRect/>
          </a:stretch>
        </p:blipFill>
        <p:spPr>
          <a:xfrm>
            <a:off x="11163634" y="2233105"/>
            <a:ext cx="1028366" cy="3079630"/>
          </a:xfrm>
          <a:prstGeom prst="rect">
            <a:avLst/>
          </a:prstGeom>
        </p:spPr>
      </p:pic>
    </p:spTree>
    <p:extLst>
      <p:ext uri="{BB962C8B-B14F-4D97-AF65-F5344CB8AC3E}">
        <p14:creationId xmlns:p14="http://schemas.microsoft.com/office/powerpoint/2010/main" val="15936943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8A68D502-33E6-82D4-4BC1-647956202BFA}"/>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25D9722E-9932-686A-AE99-22038F2553ED}"/>
              </a:ext>
            </a:extLst>
          </p:cNvPr>
          <p:cNvSpPr>
            <a:spLocks noGrp="1"/>
          </p:cNvSpPr>
          <p:nvPr>
            <p:ph type="body" sz="quarter" idx="18"/>
          </p:nvPr>
        </p:nvSpPr>
        <p:spPr>
          <a:xfrm>
            <a:off x="680661" y="1653735"/>
            <a:ext cx="8837691" cy="3849918"/>
          </a:xfrm>
        </p:spPr>
        <p:txBody>
          <a:bodyPr lIns="91440" tIns="45720" rIns="91440" bIns="45720" anchor="t"/>
          <a:lstStyle/>
          <a:p>
            <a:r>
              <a:rPr lang="en-GB" sz="2000" b="1" dirty="0"/>
              <a:t>Lebensstil und Interessen:</a:t>
            </a:r>
            <a:endParaRPr lang="en-GB" sz="2000" dirty="0"/>
          </a:p>
          <a:p>
            <a:pPr>
              <a:buFont typeface="Arial" panose="020B0604020202020204" pitchFamily="34" charset="0"/>
              <a:buChar char="•"/>
            </a:pPr>
            <a:r>
              <a:rPr lang="en-GB" sz="2000" b="1" dirty="0"/>
              <a:t>Hobbys und Interessen</a:t>
            </a:r>
            <a:r>
              <a:rPr lang="en-GB" sz="2000" dirty="0"/>
              <a:t>: Was sind ihre Hobbys oder Freizeitaktivitäten? Dies kann die Art der Inhalte, die Sie erstellen, und die Partnerschaften oder Sponsorschaften, die Sie anstreben, beeinflussen.</a:t>
            </a:r>
          </a:p>
          <a:p>
            <a:pPr>
              <a:buFont typeface="Arial" panose="020B0604020202020204" pitchFamily="34" charset="0"/>
              <a:buChar char="•"/>
            </a:pPr>
            <a:r>
              <a:rPr lang="en-GB" sz="2000" b="1" dirty="0"/>
              <a:t>Medienkonsum</a:t>
            </a:r>
            <a:r>
              <a:rPr lang="en-GB" sz="2000" dirty="0"/>
              <a:t>: Welche Art von Medien konsumieren sie, und über welche Kanäle? Sehen sie traditionelles Fernsehen, streamen sie Inhalte online oder hören sie Podcasts? Dies hilft bei der Auswahl der richtigen Plattformen für die Werbung.</a:t>
            </a:r>
          </a:p>
          <a:p>
            <a:pPr marL="342900" indent="-342900">
              <a:buChar char="•"/>
            </a:pPr>
            <a:endParaRPr lang="en-US" sz="2000" dirty="0">
              <a:cs typeface="Calibri" panose="020F0502020204030204"/>
            </a:endParaRPr>
          </a:p>
        </p:txBody>
      </p:sp>
      <p:sp>
        <p:nvSpPr>
          <p:cNvPr id="3" name="Text Placeholder 2">
            <a:extLst>
              <a:ext uri="{FF2B5EF4-FFF2-40B4-BE49-F238E27FC236}">
                <a16:creationId xmlns:a16="http://schemas.microsoft.com/office/drawing/2014/main" id="{FA8F15C6-40D0-6F14-66D3-76DD7210B45A}"/>
              </a:ext>
            </a:extLst>
          </p:cNvPr>
          <p:cNvSpPr>
            <a:spLocks noGrp="1"/>
          </p:cNvSpPr>
          <p:nvPr>
            <p:ph type="body" sz="quarter" idx="16"/>
          </p:nvPr>
        </p:nvSpPr>
        <p:spPr>
          <a:xfrm>
            <a:off x="798381" y="761603"/>
            <a:ext cx="5872249" cy="803654"/>
          </a:xfrm>
        </p:spPr>
        <p:txBody>
          <a:bodyPr lIns="91440" tIns="45720" rIns="91440" bIns="45720" anchor="t">
            <a:noAutofit/>
          </a:bodyPr>
          <a:lstStyle/>
          <a:p>
            <a:r>
              <a:rPr lang="en-US" dirty="0">
                <a:solidFill>
                  <a:schemeClr val="bg1"/>
                </a:solidFill>
                <a:cs typeface="Calibri"/>
              </a:rPr>
              <a:t>Definieren Sie Ihren Zielmarkt</a:t>
            </a:r>
            <a:endParaRPr lang="en-US" dirty="0"/>
          </a:p>
        </p:txBody>
      </p:sp>
      <p:pic>
        <p:nvPicPr>
          <p:cNvPr id="14" name="Picture 13" descr="Elderly woman with hand on chin">
            <a:extLst>
              <a:ext uri="{FF2B5EF4-FFF2-40B4-BE49-F238E27FC236}">
                <a16:creationId xmlns:a16="http://schemas.microsoft.com/office/drawing/2014/main" id="{93BB4E86-59B4-E561-FE11-0E0FDA6F1D16}"/>
              </a:ext>
            </a:extLst>
          </p:cNvPr>
          <p:cNvPicPr>
            <a:picLocks noChangeAspect="1"/>
          </p:cNvPicPr>
          <p:nvPr/>
        </p:nvPicPr>
        <p:blipFill>
          <a:blip r:embed="rId2"/>
          <a:stretch>
            <a:fillRect/>
          </a:stretch>
        </p:blipFill>
        <p:spPr>
          <a:xfrm>
            <a:off x="10389147" y="4857124"/>
            <a:ext cx="1055278" cy="1293057"/>
          </a:xfrm>
          <a:prstGeom prst="rect">
            <a:avLst/>
          </a:prstGeom>
        </p:spPr>
      </p:pic>
      <p:pic>
        <p:nvPicPr>
          <p:cNvPr id="16" name="Picture 15" descr="Young boy explaining">
            <a:extLst>
              <a:ext uri="{FF2B5EF4-FFF2-40B4-BE49-F238E27FC236}">
                <a16:creationId xmlns:a16="http://schemas.microsoft.com/office/drawing/2014/main" id="{2DF4AAEA-9CC3-C6C3-2DF3-DDB5A7FB4F0C}"/>
              </a:ext>
            </a:extLst>
          </p:cNvPr>
          <p:cNvPicPr>
            <a:picLocks noChangeAspect="1"/>
          </p:cNvPicPr>
          <p:nvPr/>
        </p:nvPicPr>
        <p:blipFill>
          <a:blip r:embed="rId3"/>
          <a:stretch>
            <a:fillRect/>
          </a:stretch>
        </p:blipFill>
        <p:spPr>
          <a:xfrm>
            <a:off x="10608135" y="93754"/>
            <a:ext cx="1047696" cy="2139351"/>
          </a:xfrm>
          <a:prstGeom prst="rect">
            <a:avLst/>
          </a:prstGeom>
        </p:spPr>
      </p:pic>
      <p:pic>
        <p:nvPicPr>
          <p:cNvPr id="18" name="Picture 17" descr="Businessman using phone">
            <a:extLst>
              <a:ext uri="{FF2B5EF4-FFF2-40B4-BE49-F238E27FC236}">
                <a16:creationId xmlns:a16="http://schemas.microsoft.com/office/drawing/2014/main" id="{37A2E8A5-F932-2CED-76B5-156CF88CC0B1}"/>
              </a:ext>
            </a:extLst>
          </p:cNvPr>
          <p:cNvPicPr>
            <a:picLocks noChangeAspect="1"/>
          </p:cNvPicPr>
          <p:nvPr/>
        </p:nvPicPr>
        <p:blipFill>
          <a:blip r:embed="rId4"/>
          <a:stretch>
            <a:fillRect/>
          </a:stretch>
        </p:blipFill>
        <p:spPr>
          <a:xfrm>
            <a:off x="9641572" y="1642324"/>
            <a:ext cx="1275214" cy="3487083"/>
          </a:xfrm>
          <a:prstGeom prst="rect">
            <a:avLst/>
          </a:prstGeom>
        </p:spPr>
      </p:pic>
      <p:pic>
        <p:nvPicPr>
          <p:cNvPr id="20" name="Picture 19" descr="Businesswoman holding tablet">
            <a:extLst>
              <a:ext uri="{FF2B5EF4-FFF2-40B4-BE49-F238E27FC236}">
                <a16:creationId xmlns:a16="http://schemas.microsoft.com/office/drawing/2014/main" id="{DEF4652A-F668-4B48-A763-1BCF3A02E878}"/>
              </a:ext>
            </a:extLst>
          </p:cNvPr>
          <p:cNvPicPr>
            <a:picLocks noChangeAspect="1"/>
          </p:cNvPicPr>
          <p:nvPr/>
        </p:nvPicPr>
        <p:blipFill>
          <a:blip r:embed="rId5"/>
          <a:stretch>
            <a:fillRect/>
          </a:stretch>
        </p:blipFill>
        <p:spPr>
          <a:xfrm>
            <a:off x="11163634" y="2233105"/>
            <a:ext cx="1028366" cy="3079630"/>
          </a:xfrm>
          <a:prstGeom prst="rect">
            <a:avLst/>
          </a:prstGeom>
        </p:spPr>
      </p:pic>
    </p:spTree>
    <p:extLst>
      <p:ext uri="{BB962C8B-B14F-4D97-AF65-F5344CB8AC3E}">
        <p14:creationId xmlns:p14="http://schemas.microsoft.com/office/powerpoint/2010/main" val="21216726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8A68D502-33E6-82D4-4BC1-647956202BFA}"/>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25D9722E-9932-686A-AE99-22038F2553ED}"/>
              </a:ext>
            </a:extLst>
          </p:cNvPr>
          <p:cNvSpPr>
            <a:spLocks noGrp="1"/>
          </p:cNvSpPr>
          <p:nvPr>
            <p:ph type="body" sz="quarter" idx="18"/>
          </p:nvPr>
        </p:nvSpPr>
        <p:spPr>
          <a:xfrm>
            <a:off x="680661" y="1653735"/>
            <a:ext cx="8837691" cy="3849918"/>
          </a:xfrm>
        </p:spPr>
        <p:txBody>
          <a:bodyPr lIns="91440" tIns="45720" rIns="91440" bIns="45720" anchor="t"/>
          <a:lstStyle/>
          <a:p>
            <a:r>
              <a:rPr lang="en-GB" b="1" dirty="0"/>
              <a:t>Werte und Haltungen:</a:t>
            </a:r>
            <a:endParaRPr lang="en-GB" dirty="0"/>
          </a:p>
          <a:p>
            <a:pPr>
              <a:buFont typeface="Arial" panose="020B0604020202020204" pitchFamily="34" charset="0"/>
              <a:buChar char="•"/>
            </a:pPr>
            <a:r>
              <a:rPr lang="en-GB" b="1" dirty="0"/>
              <a:t>Werte</a:t>
            </a:r>
            <a:r>
              <a:rPr lang="en-GB" dirty="0"/>
              <a:t>: Welche Werte sind für Ihre Kunden wichtig? Legen sie Wert auf Nachhaltigkeit, Erschwinglichkeit, Luxus oder technologische Innovation? Wenn Sie die Werte Ihrer Marke mit denen Ihrer Kunden in Einklang bringen, können Sie die Kundentreue stärken.</a:t>
            </a:r>
          </a:p>
          <a:p>
            <a:pPr>
              <a:buFont typeface="Arial" panose="020B0604020202020204" pitchFamily="34" charset="0"/>
              <a:buChar char="•"/>
            </a:pPr>
            <a:r>
              <a:rPr lang="en-GB" b="1" dirty="0"/>
              <a:t>Kaufmotivationen</a:t>
            </a:r>
            <a:r>
              <a:rPr lang="en-GB" dirty="0"/>
              <a:t>: Wenn Sie verstehen, was Ihre Kunden zum Kauf motiviert - sei es die Qualität, der Preis, der Status oder etwas anderes -, können Sie Ihre Marketingbotschaften und -angebote besser darauf abstimmen.</a:t>
            </a:r>
          </a:p>
          <a:p>
            <a:pPr marL="0" indent="0"/>
            <a:endParaRPr lang="en-US" dirty="0">
              <a:cs typeface="Calibri" panose="020F0502020204030204"/>
            </a:endParaRPr>
          </a:p>
        </p:txBody>
      </p:sp>
      <p:sp>
        <p:nvSpPr>
          <p:cNvPr id="3" name="Text Placeholder 2">
            <a:extLst>
              <a:ext uri="{FF2B5EF4-FFF2-40B4-BE49-F238E27FC236}">
                <a16:creationId xmlns:a16="http://schemas.microsoft.com/office/drawing/2014/main" id="{FA8F15C6-40D0-6F14-66D3-76DD7210B45A}"/>
              </a:ext>
            </a:extLst>
          </p:cNvPr>
          <p:cNvSpPr>
            <a:spLocks noGrp="1"/>
          </p:cNvSpPr>
          <p:nvPr>
            <p:ph type="body" sz="quarter" idx="16"/>
          </p:nvPr>
        </p:nvSpPr>
        <p:spPr>
          <a:xfrm>
            <a:off x="798381" y="761603"/>
            <a:ext cx="5872249" cy="803654"/>
          </a:xfrm>
        </p:spPr>
        <p:txBody>
          <a:bodyPr lIns="91440" tIns="45720" rIns="91440" bIns="45720" anchor="t">
            <a:noAutofit/>
          </a:bodyPr>
          <a:lstStyle/>
          <a:p>
            <a:r>
              <a:rPr lang="en-US" dirty="0">
                <a:solidFill>
                  <a:schemeClr val="bg1"/>
                </a:solidFill>
                <a:cs typeface="Calibri"/>
              </a:rPr>
              <a:t>Definieren Sie Ihren Zielmarkt</a:t>
            </a:r>
            <a:endParaRPr lang="en-US" dirty="0"/>
          </a:p>
        </p:txBody>
      </p:sp>
      <p:pic>
        <p:nvPicPr>
          <p:cNvPr id="14" name="Picture 13" descr="Elderly woman with hand on chin">
            <a:extLst>
              <a:ext uri="{FF2B5EF4-FFF2-40B4-BE49-F238E27FC236}">
                <a16:creationId xmlns:a16="http://schemas.microsoft.com/office/drawing/2014/main" id="{93BB4E86-59B4-E561-FE11-0E0FDA6F1D16}"/>
              </a:ext>
            </a:extLst>
          </p:cNvPr>
          <p:cNvPicPr>
            <a:picLocks noChangeAspect="1"/>
          </p:cNvPicPr>
          <p:nvPr/>
        </p:nvPicPr>
        <p:blipFill>
          <a:blip r:embed="rId2"/>
          <a:stretch>
            <a:fillRect/>
          </a:stretch>
        </p:blipFill>
        <p:spPr>
          <a:xfrm>
            <a:off x="10389147" y="4857124"/>
            <a:ext cx="1055278" cy="1293057"/>
          </a:xfrm>
          <a:prstGeom prst="rect">
            <a:avLst/>
          </a:prstGeom>
        </p:spPr>
      </p:pic>
      <p:pic>
        <p:nvPicPr>
          <p:cNvPr id="16" name="Picture 15" descr="Young boy explaining">
            <a:extLst>
              <a:ext uri="{FF2B5EF4-FFF2-40B4-BE49-F238E27FC236}">
                <a16:creationId xmlns:a16="http://schemas.microsoft.com/office/drawing/2014/main" id="{2DF4AAEA-9CC3-C6C3-2DF3-DDB5A7FB4F0C}"/>
              </a:ext>
            </a:extLst>
          </p:cNvPr>
          <p:cNvPicPr>
            <a:picLocks noChangeAspect="1"/>
          </p:cNvPicPr>
          <p:nvPr/>
        </p:nvPicPr>
        <p:blipFill>
          <a:blip r:embed="rId3"/>
          <a:stretch>
            <a:fillRect/>
          </a:stretch>
        </p:blipFill>
        <p:spPr>
          <a:xfrm>
            <a:off x="10608135" y="93754"/>
            <a:ext cx="1047696" cy="2139351"/>
          </a:xfrm>
          <a:prstGeom prst="rect">
            <a:avLst/>
          </a:prstGeom>
        </p:spPr>
      </p:pic>
      <p:pic>
        <p:nvPicPr>
          <p:cNvPr id="18" name="Picture 17" descr="Businessman using phone">
            <a:extLst>
              <a:ext uri="{FF2B5EF4-FFF2-40B4-BE49-F238E27FC236}">
                <a16:creationId xmlns:a16="http://schemas.microsoft.com/office/drawing/2014/main" id="{37A2E8A5-F932-2CED-76B5-156CF88CC0B1}"/>
              </a:ext>
            </a:extLst>
          </p:cNvPr>
          <p:cNvPicPr>
            <a:picLocks noChangeAspect="1"/>
          </p:cNvPicPr>
          <p:nvPr/>
        </p:nvPicPr>
        <p:blipFill>
          <a:blip r:embed="rId4"/>
          <a:stretch>
            <a:fillRect/>
          </a:stretch>
        </p:blipFill>
        <p:spPr>
          <a:xfrm>
            <a:off x="9641572" y="1642324"/>
            <a:ext cx="1275214" cy="3487083"/>
          </a:xfrm>
          <a:prstGeom prst="rect">
            <a:avLst/>
          </a:prstGeom>
        </p:spPr>
      </p:pic>
      <p:pic>
        <p:nvPicPr>
          <p:cNvPr id="20" name="Picture 19" descr="Businesswoman holding tablet">
            <a:extLst>
              <a:ext uri="{FF2B5EF4-FFF2-40B4-BE49-F238E27FC236}">
                <a16:creationId xmlns:a16="http://schemas.microsoft.com/office/drawing/2014/main" id="{DEF4652A-F668-4B48-A763-1BCF3A02E878}"/>
              </a:ext>
            </a:extLst>
          </p:cNvPr>
          <p:cNvPicPr>
            <a:picLocks noChangeAspect="1"/>
          </p:cNvPicPr>
          <p:nvPr/>
        </p:nvPicPr>
        <p:blipFill>
          <a:blip r:embed="rId5"/>
          <a:stretch>
            <a:fillRect/>
          </a:stretch>
        </p:blipFill>
        <p:spPr>
          <a:xfrm>
            <a:off x="11163634" y="2233105"/>
            <a:ext cx="1028366" cy="3079630"/>
          </a:xfrm>
          <a:prstGeom prst="rect">
            <a:avLst/>
          </a:prstGeom>
        </p:spPr>
      </p:pic>
    </p:spTree>
    <p:extLst>
      <p:ext uri="{BB962C8B-B14F-4D97-AF65-F5344CB8AC3E}">
        <p14:creationId xmlns:p14="http://schemas.microsoft.com/office/powerpoint/2010/main" val="3896363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4A94671A-FB16-A2D5-A1E1-9CBAF2107AFC}"/>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D2EFFF0F-70B8-CDBA-CF9F-24B75F8519F9}"/>
              </a:ext>
            </a:extLst>
          </p:cNvPr>
          <p:cNvSpPr>
            <a:spLocks noGrp="1"/>
          </p:cNvSpPr>
          <p:nvPr>
            <p:ph type="body" sz="quarter" idx="18"/>
          </p:nvPr>
        </p:nvSpPr>
        <p:spPr>
          <a:xfrm>
            <a:off x="797943" y="1662396"/>
            <a:ext cx="9632553" cy="3849918"/>
          </a:xfrm>
        </p:spPr>
        <p:txBody>
          <a:bodyPr lIns="91440" tIns="45720" rIns="91440" bIns="45720" anchor="t"/>
          <a:lstStyle/>
          <a:p>
            <a:r>
              <a:rPr lang="en-US" sz="2000" dirty="0">
                <a:cs typeface="Calibri"/>
              </a:rPr>
              <a:t>Erstellen Sie ein visuelles Bild von jeder Ihrer Zielkunden-Personas.  Berücksichtigen Sie ihr Leben, ihre Motivationen und die Faktoren, die ihre Entscheidungen beeinflussen.</a:t>
            </a:r>
            <a:endParaRPr lang="en-US" sz="2000" dirty="0"/>
          </a:p>
        </p:txBody>
      </p:sp>
      <p:sp>
        <p:nvSpPr>
          <p:cNvPr id="3" name="Text Placeholder 2">
            <a:extLst>
              <a:ext uri="{FF2B5EF4-FFF2-40B4-BE49-F238E27FC236}">
                <a16:creationId xmlns:a16="http://schemas.microsoft.com/office/drawing/2014/main" id="{9316B50E-C561-4D56-1AF6-0E8572174833}"/>
              </a:ext>
            </a:extLst>
          </p:cNvPr>
          <p:cNvSpPr>
            <a:spLocks noGrp="1"/>
          </p:cNvSpPr>
          <p:nvPr>
            <p:ph type="body" sz="quarter" idx="16"/>
          </p:nvPr>
        </p:nvSpPr>
        <p:spPr/>
        <p:txBody>
          <a:bodyPr lIns="91440" tIns="45720" rIns="91440" bIns="45720" anchor="t">
            <a:noAutofit/>
          </a:bodyPr>
          <a:lstStyle/>
          <a:p>
            <a:r>
              <a:rPr lang="en-US">
                <a:solidFill>
                  <a:schemeClr val="bg1"/>
                </a:solidFill>
                <a:cs typeface="Calibri"/>
              </a:rPr>
              <a:t>Kunden-Personas erstellen</a:t>
            </a:r>
            <a:endParaRPr lang="en-US">
              <a:solidFill>
                <a:schemeClr val="bg1"/>
              </a:solidFill>
            </a:endParaRPr>
          </a:p>
        </p:txBody>
      </p:sp>
      <p:pic>
        <p:nvPicPr>
          <p:cNvPr id="6" name="Picture 5" descr="A screenshot of a social media post&#10;&#10;Description automatically generated">
            <a:extLst>
              <a:ext uri="{FF2B5EF4-FFF2-40B4-BE49-F238E27FC236}">
                <a16:creationId xmlns:a16="http://schemas.microsoft.com/office/drawing/2014/main" id="{FFF7B420-8228-1AEE-8E7C-4B3EBBAFCB00}"/>
              </a:ext>
            </a:extLst>
          </p:cNvPr>
          <p:cNvPicPr>
            <a:picLocks noChangeAspect="1"/>
          </p:cNvPicPr>
          <p:nvPr/>
        </p:nvPicPr>
        <p:blipFill>
          <a:blip r:embed="rId2"/>
          <a:stretch>
            <a:fillRect/>
          </a:stretch>
        </p:blipFill>
        <p:spPr>
          <a:xfrm>
            <a:off x="1091241" y="2412109"/>
            <a:ext cx="9460302" cy="3522865"/>
          </a:xfrm>
          <a:prstGeom prst="rect">
            <a:avLst/>
          </a:prstGeom>
        </p:spPr>
      </p:pic>
    </p:spTree>
    <p:extLst>
      <p:ext uri="{BB962C8B-B14F-4D97-AF65-F5344CB8AC3E}">
        <p14:creationId xmlns:p14="http://schemas.microsoft.com/office/powerpoint/2010/main" val="35657856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Aufbau Ihrer Marke</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3156689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Aufbau Ihrer Marke</a:t>
            </a:r>
          </a:p>
          <a:p>
            <a:endParaRPr lang="en-US"/>
          </a:p>
        </p:txBody>
      </p:sp>
      <p:pic>
        <p:nvPicPr>
          <p:cNvPr id="7" name="Picture 6">
            <a:extLst>
              <a:ext uri="{FF2B5EF4-FFF2-40B4-BE49-F238E27FC236}">
                <a16:creationId xmlns:a16="http://schemas.microsoft.com/office/drawing/2014/main" id="{704DC605-2746-1120-8ABB-65F8BF4D6FBE}"/>
              </a:ext>
            </a:extLst>
          </p:cNvPr>
          <p:cNvPicPr>
            <a:picLocks noChangeAspect="1"/>
          </p:cNvPicPr>
          <p:nvPr/>
        </p:nvPicPr>
        <p:blipFill>
          <a:blip r:embed="rId2"/>
          <a:stretch>
            <a:fillRect/>
          </a:stretch>
        </p:blipFill>
        <p:spPr>
          <a:xfrm>
            <a:off x="1391898" y="2005263"/>
            <a:ext cx="1884947" cy="1884947"/>
          </a:xfrm>
          <a:prstGeom prst="rect">
            <a:avLst/>
          </a:prstGeom>
        </p:spPr>
      </p:pic>
      <p:pic>
        <p:nvPicPr>
          <p:cNvPr id="8" name="Picture 7">
            <a:extLst>
              <a:ext uri="{FF2B5EF4-FFF2-40B4-BE49-F238E27FC236}">
                <a16:creationId xmlns:a16="http://schemas.microsoft.com/office/drawing/2014/main" id="{5E9BCD73-B45C-2D57-B9CE-156614FA5169}"/>
              </a:ext>
            </a:extLst>
          </p:cNvPr>
          <p:cNvPicPr>
            <a:picLocks noChangeAspect="1"/>
          </p:cNvPicPr>
          <p:nvPr/>
        </p:nvPicPr>
        <p:blipFill>
          <a:blip r:embed="rId3"/>
          <a:stretch>
            <a:fillRect/>
          </a:stretch>
        </p:blipFill>
        <p:spPr>
          <a:xfrm>
            <a:off x="4327033" y="2005263"/>
            <a:ext cx="2575248" cy="1839361"/>
          </a:xfrm>
          <a:prstGeom prst="rect">
            <a:avLst/>
          </a:prstGeom>
        </p:spPr>
      </p:pic>
      <p:pic>
        <p:nvPicPr>
          <p:cNvPr id="9" name="Picture 8">
            <a:extLst>
              <a:ext uri="{FF2B5EF4-FFF2-40B4-BE49-F238E27FC236}">
                <a16:creationId xmlns:a16="http://schemas.microsoft.com/office/drawing/2014/main" id="{39D50652-A863-47E0-F91D-D15BB77ED146}"/>
              </a:ext>
            </a:extLst>
          </p:cNvPr>
          <p:cNvPicPr>
            <a:picLocks noChangeAspect="1"/>
          </p:cNvPicPr>
          <p:nvPr/>
        </p:nvPicPr>
        <p:blipFill>
          <a:blip r:embed="rId4"/>
          <a:stretch>
            <a:fillRect/>
          </a:stretch>
        </p:blipFill>
        <p:spPr>
          <a:xfrm>
            <a:off x="7151258" y="1912596"/>
            <a:ext cx="3544815" cy="1993958"/>
          </a:xfrm>
          <a:prstGeom prst="rect">
            <a:avLst/>
          </a:prstGeom>
        </p:spPr>
      </p:pic>
      <p:sp>
        <p:nvSpPr>
          <p:cNvPr id="10" name="TextBox 9">
            <a:extLst>
              <a:ext uri="{FF2B5EF4-FFF2-40B4-BE49-F238E27FC236}">
                <a16:creationId xmlns:a16="http://schemas.microsoft.com/office/drawing/2014/main" id="{995977BB-9FB2-99A2-7D1A-40BB0DF71D88}"/>
              </a:ext>
            </a:extLst>
          </p:cNvPr>
          <p:cNvSpPr txBox="1"/>
          <p:nvPr/>
        </p:nvSpPr>
        <p:spPr>
          <a:xfrm>
            <a:off x="1319830" y="4145550"/>
            <a:ext cx="2029082" cy="369332"/>
          </a:xfrm>
          <a:prstGeom prst="rect">
            <a:avLst/>
          </a:prstGeom>
          <a:noFill/>
        </p:spPr>
        <p:txBody>
          <a:bodyPr wrap="square" rtlCol="0">
            <a:spAutoFit/>
          </a:bodyPr>
          <a:lstStyle/>
          <a:p>
            <a:r>
              <a:rPr lang="en-GB"/>
              <a:t>Es handelt sich nicht um eine Marke</a:t>
            </a:r>
            <a:endParaRPr lang="en-IE"/>
          </a:p>
        </p:txBody>
      </p:sp>
      <p:sp>
        <p:nvSpPr>
          <p:cNvPr id="12" name="TextBox 11">
            <a:extLst>
              <a:ext uri="{FF2B5EF4-FFF2-40B4-BE49-F238E27FC236}">
                <a16:creationId xmlns:a16="http://schemas.microsoft.com/office/drawing/2014/main" id="{170A01FA-4E09-B1BC-046C-D08A4DB30D76}"/>
              </a:ext>
            </a:extLst>
          </p:cNvPr>
          <p:cNvSpPr txBox="1"/>
          <p:nvPr/>
        </p:nvSpPr>
        <p:spPr>
          <a:xfrm>
            <a:off x="4524608" y="4194404"/>
            <a:ext cx="2029082" cy="369332"/>
          </a:xfrm>
          <a:prstGeom prst="rect">
            <a:avLst/>
          </a:prstGeom>
          <a:noFill/>
        </p:spPr>
        <p:txBody>
          <a:bodyPr wrap="square" rtlCol="0">
            <a:spAutoFit/>
          </a:bodyPr>
          <a:lstStyle/>
          <a:p>
            <a:r>
              <a:rPr lang="en-GB"/>
              <a:t>Es handelt sich nicht um eine Marke</a:t>
            </a:r>
            <a:endParaRPr lang="en-IE"/>
          </a:p>
        </p:txBody>
      </p:sp>
      <p:sp>
        <p:nvSpPr>
          <p:cNvPr id="13" name="TextBox 12">
            <a:extLst>
              <a:ext uri="{FF2B5EF4-FFF2-40B4-BE49-F238E27FC236}">
                <a16:creationId xmlns:a16="http://schemas.microsoft.com/office/drawing/2014/main" id="{6C13087E-35DC-A7F2-AB98-80DDF32BAA8F}"/>
              </a:ext>
            </a:extLst>
          </p:cNvPr>
          <p:cNvSpPr txBox="1"/>
          <p:nvPr/>
        </p:nvSpPr>
        <p:spPr>
          <a:xfrm>
            <a:off x="7909124" y="4194404"/>
            <a:ext cx="2029082" cy="369332"/>
          </a:xfrm>
          <a:prstGeom prst="rect">
            <a:avLst/>
          </a:prstGeom>
          <a:noFill/>
        </p:spPr>
        <p:txBody>
          <a:bodyPr wrap="square" rtlCol="0">
            <a:spAutoFit/>
          </a:bodyPr>
          <a:lstStyle/>
          <a:p>
            <a:r>
              <a:rPr lang="en-GB"/>
              <a:t>Es handelt sich nicht um eine Marke</a:t>
            </a:r>
            <a:endParaRPr lang="en-IE"/>
          </a:p>
        </p:txBody>
      </p:sp>
      <p:sp>
        <p:nvSpPr>
          <p:cNvPr id="14" name="TextBox 13">
            <a:extLst>
              <a:ext uri="{FF2B5EF4-FFF2-40B4-BE49-F238E27FC236}">
                <a16:creationId xmlns:a16="http://schemas.microsoft.com/office/drawing/2014/main" id="{78DBB066-568E-A72F-2A98-1252E7C7CE23}"/>
              </a:ext>
            </a:extLst>
          </p:cNvPr>
          <p:cNvSpPr txBox="1"/>
          <p:nvPr/>
        </p:nvSpPr>
        <p:spPr>
          <a:xfrm>
            <a:off x="3786906" y="5001507"/>
            <a:ext cx="3604256" cy="584775"/>
          </a:xfrm>
          <a:prstGeom prst="rect">
            <a:avLst/>
          </a:prstGeom>
          <a:noFill/>
        </p:spPr>
        <p:txBody>
          <a:bodyPr wrap="none" rtlCol="0">
            <a:spAutoFit/>
          </a:bodyPr>
          <a:lstStyle/>
          <a:p>
            <a:r>
              <a:rPr lang="en-GB" sz="3200" b="1" dirty="0">
                <a:solidFill>
                  <a:srgbClr val="DE0A1D"/>
                </a:solidFill>
              </a:rPr>
              <a:t>Was ist also eine Marke?</a:t>
            </a:r>
            <a:endParaRPr lang="en-IE" sz="3200" b="1" dirty="0">
              <a:solidFill>
                <a:srgbClr val="DE0A1D"/>
              </a:solidFill>
            </a:endParaRPr>
          </a:p>
        </p:txBody>
      </p:sp>
    </p:spTree>
    <p:extLst>
      <p:ext uri="{BB962C8B-B14F-4D97-AF65-F5344CB8AC3E}">
        <p14:creationId xmlns:p14="http://schemas.microsoft.com/office/powerpoint/2010/main" val="1895653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898358" y="1958800"/>
            <a:ext cx="5404288" cy="3025975"/>
          </a:xfrm>
        </p:spPr>
        <p:txBody>
          <a:bodyPr/>
          <a:lstStyle/>
          <a:p>
            <a:pPr marL="0" indent="0"/>
            <a:r>
              <a:rPr lang="en-US" dirty="0"/>
              <a:t>Ihre Marke ist mehr als Ihr Name und Ihr Logo (obwohl diese sehr wichtig sind).</a:t>
            </a:r>
          </a:p>
          <a:p>
            <a:r>
              <a:rPr lang="en-US" dirty="0"/>
              <a:t>Ihre Marke ist die Art und Weise, wie Sie die Menschen </a:t>
            </a:r>
            <a:r>
              <a:rPr lang="en-US" b="1" dirty="0">
                <a:solidFill>
                  <a:srgbClr val="FDBD22"/>
                </a:solidFill>
              </a:rPr>
              <a:t>FÜHLEN </a:t>
            </a:r>
            <a:r>
              <a:rPr lang="en-US" dirty="0"/>
              <a:t>lassen</a:t>
            </a:r>
          </a:p>
          <a:p>
            <a:r>
              <a:rPr lang="en-US" dirty="0"/>
              <a:t>Ihre Marke ist eine emotionale </a:t>
            </a:r>
            <a:r>
              <a:rPr lang="en-US" b="1" dirty="0">
                <a:solidFill>
                  <a:srgbClr val="FDBD22"/>
                </a:solidFill>
              </a:rPr>
              <a:t>VERBINDUNG</a:t>
            </a:r>
          </a:p>
          <a:p>
            <a:r>
              <a:rPr lang="en-US" dirty="0"/>
              <a:t>Ihre Marke ist die </a:t>
            </a:r>
            <a:r>
              <a:rPr lang="en-US" b="1" dirty="0">
                <a:solidFill>
                  <a:srgbClr val="FDBD22"/>
                </a:solidFill>
              </a:rPr>
              <a:t>ERFAHRUNG</a:t>
            </a:r>
            <a:r>
              <a:rPr lang="en-US" dirty="0"/>
              <a:t>, die Sie schaffen</a:t>
            </a:r>
          </a:p>
          <a:p>
            <a:r>
              <a:rPr lang="en-US" dirty="0"/>
              <a:t>Ihre Marke ist eine </a:t>
            </a:r>
            <a:r>
              <a:rPr lang="en-US" b="1" dirty="0">
                <a:solidFill>
                  <a:srgbClr val="FDBD22"/>
                </a:solidFill>
              </a:rPr>
              <a:t>LÖSUNG </a:t>
            </a:r>
            <a:r>
              <a:rPr lang="en-US" dirty="0"/>
              <a:t>für Ihren Kunden</a:t>
            </a:r>
          </a:p>
          <a:p>
            <a:endParaRPr lang="en-US" dirty="0"/>
          </a:p>
          <a:p>
            <a:endParaRPr lang="en-US" dirty="0"/>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p:txBody>
          <a:bodyPr/>
          <a:lstStyle/>
          <a:p>
            <a:r>
              <a:rPr lang="en-US" b="1" dirty="0"/>
              <a:t>Was ist eine Marke?</a:t>
            </a:r>
          </a:p>
          <a:p>
            <a:endParaRPr lang="en-US" sz="1800" dirty="0"/>
          </a:p>
          <a:p>
            <a:endParaRPr lang="en-US" dirty="0"/>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11" name="Picture Placeholder 10">
            <a:extLst>
              <a:ext uri="{FF2B5EF4-FFF2-40B4-BE49-F238E27FC236}">
                <a16:creationId xmlns:a16="http://schemas.microsoft.com/office/drawing/2014/main" id="{F05E130E-F49B-9FD0-6A22-E3D3C1E99189}"/>
              </a:ext>
            </a:extLst>
          </p:cNvPr>
          <p:cNvPicPr>
            <a:picLocks noGrp="1" noChangeAspect="1"/>
          </p:cNvPicPr>
          <p:nvPr>
            <p:ph type="pic" sz="quarter" idx="42"/>
          </p:nvPr>
        </p:nvPicPr>
        <p:blipFill>
          <a:blip r:embed="rId3"/>
          <a:srcRect l="9575" r="9575"/>
          <a:stretch>
            <a:fillRect/>
          </a:stretch>
        </p:blipFill>
        <p:spPr/>
      </p:pic>
    </p:spTree>
    <p:extLst>
      <p:ext uri="{BB962C8B-B14F-4D97-AF65-F5344CB8AC3E}">
        <p14:creationId xmlns:p14="http://schemas.microsoft.com/office/powerpoint/2010/main" val="1963509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06694" y="1386234"/>
            <a:ext cx="10008355" cy="3849918"/>
          </a:xfrm>
        </p:spPr>
        <p:txBody>
          <a:bodyPr/>
          <a:lstStyle/>
          <a:p>
            <a:endParaRPr lang="en-US" sz="2000" dirty="0"/>
          </a:p>
          <a:p>
            <a:r>
              <a:rPr lang="en-US" sz="2000" b="1" dirty="0" err="1">
                <a:solidFill>
                  <a:srgbClr val="47B5C8"/>
                </a:solidFill>
              </a:rPr>
              <a:t>Fähigkeiten</a:t>
            </a:r>
            <a:r>
              <a:rPr lang="en-US" sz="2000" b="1" dirty="0">
                <a:solidFill>
                  <a:srgbClr val="47B5C8"/>
                </a:solidFill>
              </a:rPr>
              <a:t>:  </a:t>
            </a:r>
          </a:p>
          <a:p>
            <a:pPr marL="342900" indent="-342900">
              <a:buFont typeface="Arial" panose="020B0604020202020204" pitchFamily="34" charset="0"/>
              <a:buChar char="•"/>
            </a:pPr>
            <a:r>
              <a:rPr lang="en-GB" sz="2000" dirty="0"/>
              <a:t>Entwicklung von Fähigkeiten zur Erstellung und Umsetzung wirksamer, auf die Zielgruppe zugeschnittener Marketingkampagnen.</a:t>
            </a:r>
          </a:p>
          <a:p>
            <a:pPr marL="342900" indent="-342900">
              <a:buFont typeface="Arial" panose="020B0604020202020204" pitchFamily="34" charset="0"/>
              <a:buChar char="•"/>
            </a:pPr>
            <a:r>
              <a:rPr lang="en-GB" sz="2000" dirty="0"/>
              <a:t>Beherrschen Sie die Kunst, eine fesselnde Markengeschichte zu entwickeln, die bei den Kunden ankommt und sich von der Konkurrenz abhebt.</a:t>
            </a:r>
          </a:p>
          <a:p>
            <a:pPr marL="342900" indent="-342900">
              <a:buFont typeface="Arial" panose="020B0604020202020204" pitchFamily="34" charset="0"/>
              <a:buChar char="•"/>
            </a:pPr>
            <a:r>
              <a:rPr lang="en-GB" sz="2000" dirty="0"/>
              <a:t>Aneignung praktischer Fähigkeiten bei Verkaufsverhandlungen, Geschäftsabschlüssen und der Verwaltung von Kundenbeziehungen</a:t>
            </a:r>
          </a:p>
          <a:p>
            <a:pPr marL="342900" indent="-342900">
              <a:buFont typeface="Arial" panose="020B0604020202020204" pitchFamily="34" charset="0"/>
              <a:buChar char="•"/>
            </a:pPr>
            <a:r>
              <a:rPr lang="en-GB" sz="2000" dirty="0"/>
              <a:t>Lernen Sie, digitale Tools für Marketinganalysen, Kundenbeziehungsmanagement und Online-Engagement zu nutzen.</a:t>
            </a:r>
            <a:endParaRPr lang="en-US" sz="2000" dirty="0"/>
          </a:p>
          <a:p>
            <a:pPr marL="342900" indent="-342900">
              <a:buFont typeface="Arial" panose="020B0604020202020204" pitchFamily="34" charset="0"/>
              <a:buChar char="•"/>
            </a:pPr>
            <a:endParaRPr lang="en-US" sz="2000" dirty="0"/>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Lernergebnisse</a:t>
            </a:r>
            <a:r>
              <a:rPr lang="en-US" dirty="0">
                <a:solidFill>
                  <a:schemeClr val="bg1"/>
                </a:solidFill>
              </a:rPr>
              <a:t> </a:t>
            </a:r>
          </a:p>
          <a:p>
            <a:endParaRPr lang="en-US" dirty="0"/>
          </a:p>
        </p:txBody>
      </p:sp>
    </p:spTree>
    <p:extLst>
      <p:ext uri="{BB962C8B-B14F-4D97-AF65-F5344CB8AC3E}">
        <p14:creationId xmlns:p14="http://schemas.microsoft.com/office/powerpoint/2010/main" val="16893292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p:txBody>
          <a:bodyPr/>
          <a:lstStyle/>
          <a:p>
            <a:endParaRPr lang="en-US"/>
          </a:p>
          <a:p>
            <a:endParaRPr lang="en-US"/>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as </a:t>
            </a:r>
            <a:r>
              <a:rPr lang="en-US" dirty="0" err="1">
                <a:solidFill>
                  <a:schemeClr val="bg1"/>
                </a:solidFill>
              </a:rPr>
              <a:t>ist</a:t>
            </a:r>
            <a:r>
              <a:rPr lang="en-US" dirty="0">
                <a:solidFill>
                  <a:schemeClr val="bg1"/>
                </a:solidFill>
              </a:rPr>
              <a:t> </a:t>
            </a:r>
            <a:r>
              <a:rPr lang="en-US" dirty="0" err="1">
                <a:solidFill>
                  <a:schemeClr val="bg1"/>
                </a:solidFill>
              </a:rPr>
              <a:t>eine</a:t>
            </a:r>
            <a:r>
              <a:rPr lang="en-US" dirty="0">
                <a:solidFill>
                  <a:schemeClr val="bg1"/>
                </a:solidFill>
              </a:rPr>
              <a:t> Marke?</a:t>
            </a:r>
          </a:p>
          <a:p>
            <a:endParaRPr lang="en-US" dirty="0"/>
          </a:p>
        </p:txBody>
      </p:sp>
      <p:sp>
        <p:nvSpPr>
          <p:cNvPr id="7" name="TextBox 6">
            <a:extLst>
              <a:ext uri="{FF2B5EF4-FFF2-40B4-BE49-F238E27FC236}">
                <a16:creationId xmlns:a16="http://schemas.microsoft.com/office/drawing/2014/main" id="{D69BB91E-F3C9-F32E-C66C-99CA96D7DA53}"/>
              </a:ext>
            </a:extLst>
          </p:cNvPr>
          <p:cNvSpPr txBox="1"/>
          <p:nvPr/>
        </p:nvSpPr>
        <p:spPr>
          <a:xfrm>
            <a:off x="958514" y="1626944"/>
            <a:ext cx="9632553" cy="3862596"/>
          </a:xfrm>
          <a:prstGeom prst="rect">
            <a:avLst/>
          </a:prstGeom>
          <a:noFill/>
        </p:spPr>
        <p:txBody>
          <a:bodyPr wrap="square">
            <a:spAutoFit/>
          </a:bodyPr>
          <a:lstStyle/>
          <a:p>
            <a:r>
              <a:rPr lang="en-US" sz="2000" dirty="0"/>
              <a:t>Ihre Marke ist auch Ihr </a:t>
            </a:r>
            <a:r>
              <a:rPr lang="en-US" sz="2000" b="1" dirty="0">
                <a:solidFill>
                  <a:srgbClr val="DE0A1D"/>
                </a:solidFill>
              </a:rPr>
              <a:t>Versprechen </a:t>
            </a:r>
            <a:r>
              <a:rPr lang="en-US" sz="2000" dirty="0">
                <a:solidFill>
                  <a:srgbClr val="086575"/>
                </a:solidFill>
              </a:rPr>
              <a:t>und Ihr </a:t>
            </a:r>
            <a:r>
              <a:rPr lang="en-US" sz="2000" b="1" dirty="0">
                <a:solidFill>
                  <a:srgbClr val="DE0A1D"/>
                </a:solidFill>
              </a:rPr>
              <a:t>Ruf. </a:t>
            </a:r>
            <a:r>
              <a:rPr lang="en-US" sz="2000" dirty="0"/>
              <a:t>Sie ist das, was </a:t>
            </a:r>
            <a:r>
              <a:rPr lang="en-US" sz="2000" b="1" dirty="0">
                <a:solidFill>
                  <a:srgbClr val="DE0A1D"/>
                </a:solidFill>
              </a:rPr>
              <a:t>die Leute </a:t>
            </a:r>
            <a:r>
              <a:rPr lang="en-US" sz="2000" dirty="0"/>
              <a:t>über Sie sagen, wenn Sie nicht im Raum sind.</a:t>
            </a:r>
          </a:p>
          <a:p>
            <a:endParaRPr lang="en-US" sz="1600" dirty="0"/>
          </a:p>
          <a:p>
            <a:r>
              <a:rPr lang="en-US" sz="2000" dirty="0"/>
              <a:t>Ihre Marke ist auch Ihre einzigartige </a:t>
            </a:r>
            <a:r>
              <a:rPr lang="en-US" sz="2000" b="1" dirty="0">
                <a:solidFill>
                  <a:srgbClr val="DE0A1D"/>
                </a:solidFill>
              </a:rPr>
              <a:t>Geschichte, </a:t>
            </a:r>
            <a:r>
              <a:rPr lang="en-US" sz="2000" dirty="0">
                <a:solidFill>
                  <a:srgbClr val="086575"/>
                </a:solidFill>
              </a:rPr>
              <a:t>und sie repräsentiert </a:t>
            </a:r>
            <a:r>
              <a:rPr lang="en-US" sz="2000" dirty="0"/>
              <a:t>Ihre </a:t>
            </a:r>
            <a:r>
              <a:rPr lang="en-US" sz="2000" b="1" dirty="0">
                <a:solidFill>
                  <a:srgbClr val="DE0A1D"/>
                </a:solidFill>
              </a:rPr>
              <a:t>Werte.</a:t>
            </a:r>
          </a:p>
          <a:p>
            <a:endParaRPr lang="en-US" sz="1600" dirty="0">
              <a:solidFill>
                <a:srgbClr val="DE0A1D"/>
              </a:solidFill>
            </a:endParaRPr>
          </a:p>
          <a:p>
            <a:pPr marL="0" marR="0" lvl="0" indent="0" algn="just" defTabSz="914400" rtl="0" eaLnBrk="1" fontAlgn="auto" latinLnBrk="0" hangingPunct="1">
              <a:lnSpc>
                <a:spcPct val="90000"/>
              </a:lnSpc>
              <a:spcBef>
                <a:spcPts val="1000"/>
              </a:spcBef>
              <a:spcAft>
                <a:spcPts val="0"/>
              </a:spcAft>
              <a:buClrTx/>
              <a:buSzTx/>
              <a:buFont typeface="Arial"/>
              <a:buNone/>
              <a:tabLst/>
              <a:defRPr/>
            </a:pPr>
            <a:r>
              <a:rPr kumimoji="0" lang="en-US" sz="2000" b="0" i="0" u="none" strike="noStrike" kern="1200" cap="none" spc="0" normalizeH="0" baseline="0" noProof="0" dirty="0">
                <a:ln>
                  <a:noFill/>
                </a:ln>
                <a:solidFill>
                  <a:srgbClr val="086575"/>
                </a:solidFill>
                <a:effectLst/>
                <a:uLnTx/>
                <a:uFillTx/>
                <a:latin typeface="Calibri" panose="020F0502020204030204"/>
                <a:ea typeface="+mn-ea"/>
                <a:cs typeface="+mn-cs"/>
              </a:rPr>
              <a:t>Ihre Marke ist Ihr Versprechen für </a:t>
            </a:r>
            <a:r>
              <a:rPr kumimoji="0" lang="en-US" sz="2000" b="1" i="0" u="none" strike="noStrike" kern="1200" cap="none" spc="0" normalizeH="0" baseline="0" noProof="0" dirty="0">
                <a:ln>
                  <a:noFill/>
                </a:ln>
                <a:solidFill>
                  <a:srgbClr val="DE0A1D"/>
                </a:solidFill>
                <a:effectLst/>
                <a:uLnTx/>
                <a:uFillTx/>
                <a:latin typeface="Calibri" panose="020F0502020204030204"/>
                <a:ea typeface="+mn-ea"/>
                <a:cs typeface="+mn-cs"/>
              </a:rPr>
              <a:t>Qualität</a:t>
            </a:r>
            <a:r>
              <a:rPr kumimoji="0" lang="en-US" sz="2000" b="1" i="0" u="none" strike="noStrike" kern="1200" cap="none" spc="0" normalizeH="0" baseline="0" noProof="0" dirty="0">
                <a:ln>
                  <a:noFill/>
                </a:ln>
                <a:solidFill>
                  <a:srgbClr val="086575"/>
                </a:solidFill>
                <a:effectLst/>
                <a:uLnTx/>
                <a:uFillTx/>
                <a:latin typeface="Calibri" panose="020F0502020204030204"/>
                <a:ea typeface="+mn-ea"/>
                <a:cs typeface="+mn-cs"/>
              </a:rPr>
              <a:t>, </a:t>
            </a:r>
            <a:r>
              <a:rPr kumimoji="0" lang="en-US" sz="2000" b="1" i="0" u="none" strike="noStrike" kern="1200" cap="none" spc="0" normalizeH="0" baseline="0" noProof="0" dirty="0">
                <a:ln>
                  <a:noFill/>
                </a:ln>
                <a:solidFill>
                  <a:srgbClr val="DE0A1D"/>
                </a:solidFill>
                <a:effectLst/>
                <a:uLnTx/>
                <a:uFillTx/>
                <a:latin typeface="Calibri" panose="020F0502020204030204"/>
                <a:ea typeface="+mn-ea"/>
                <a:cs typeface="+mn-cs"/>
              </a:rPr>
              <a:t>Konsistenz</a:t>
            </a:r>
            <a:r>
              <a:rPr kumimoji="0" lang="en-US" sz="2000" b="0" i="0" u="none" strike="noStrike" kern="1200" cap="none" spc="0" normalizeH="0" baseline="0" noProof="0" dirty="0">
                <a:ln>
                  <a:noFill/>
                </a:ln>
                <a:solidFill>
                  <a:srgbClr val="086575"/>
                </a:solidFill>
                <a:effectLst/>
                <a:uLnTx/>
                <a:uFillTx/>
                <a:latin typeface="Calibri" panose="020F0502020204030204"/>
                <a:ea typeface="+mn-ea"/>
                <a:cs typeface="+mn-cs"/>
              </a:rPr>
              <a:t>, Benutzerfreundlichkeit und Langlebigkeit - all die Dinge, die Ihr Produkt oder Ihre Dienstleistung in den Augen Ihrer Kunden zu etwas Besonderem machen.</a:t>
            </a:r>
          </a:p>
          <a:p>
            <a:pPr marL="0" marR="0" lvl="0" indent="0" algn="just" defTabSz="914400" rtl="0" eaLnBrk="1" fontAlgn="auto" latinLnBrk="0" hangingPunct="1">
              <a:lnSpc>
                <a:spcPct val="90000"/>
              </a:lnSpc>
              <a:spcBef>
                <a:spcPts val="1000"/>
              </a:spcBef>
              <a:spcAft>
                <a:spcPts val="0"/>
              </a:spcAft>
              <a:buClrTx/>
              <a:buSzTx/>
              <a:buFont typeface="Arial"/>
              <a:buNone/>
              <a:tabLst/>
              <a:defRPr/>
            </a:pPr>
            <a:endParaRPr kumimoji="0" lang="en-US" sz="2000" b="0" i="0" u="none" strike="noStrike" kern="1200" cap="none" spc="0" normalizeH="0" baseline="0" noProof="0" dirty="0">
              <a:ln>
                <a:noFill/>
              </a:ln>
              <a:solidFill>
                <a:srgbClr val="086575"/>
              </a:solidFill>
              <a:effectLst/>
              <a:uLnTx/>
              <a:uFillTx/>
              <a:latin typeface="Calibri" panose="020F0502020204030204"/>
              <a:ea typeface="+mn-ea"/>
              <a:cs typeface="+mn-cs"/>
            </a:endParaRPr>
          </a:p>
          <a:p>
            <a:pPr marL="0" marR="0" lvl="0" indent="0" algn="just" defTabSz="914400" rtl="0" eaLnBrk="1" fontAlgn="auto" latinLnBrk="0" hangingPunct="1">
              <a:lnSpc>
                <a:spcPct val="90000"/>
              </a:lnSpc>
              <a:spcBef>
                <a:spcPts val="1000"/>
              </a:spcBef>
              <a:spcAft>
                <a:spcPts val="0"/>
              </a:spcAft>
              <a:buClrTx/>
              <a:buSzTx/>
              <a:buFont typeface="Arial"/>
              <a:buNone/>
              <a:tabLst/>
              <a:defRPr/>
            </a:pPr>
            <a:r>
              <a:rPr kumimoji="0" lang="en-US" sz="2000" b="0" i="0" u="none" strike="noStrike" kern="1200" cap="none" spc="0" normalizeH="0" baseline="0" noProof="0" dirty="0">
                <a:ln>
                  <a:noFill/>
                </a:ln>
                <a:solidFill>
                  <a:srgbClr val="086575"/>
                </a:solidFill>
                <a:effectLst/>
                <a:uLnTx/>
                <a:uFillTx/>
                <a:latin typeface="Calibri" panose="020F0502020204030204"/>
                <a:ea typeface="+mn-ea"/>
                <a:cs typeface="+mn-cs"/>
              </a:rPr>
              <a:t>Die wichtigste Stärke des Brandings ist, dass es eine </a:t>
            </a:r>
            <a:r>
              <a:rPr kumimoji="0" lang="en-US" sz="2000" b="1" i="0" u="none" strike="noStrike" kern="1200" cap="none" spc="0" normalizeH="0" baseline="0" noProof="0" dirty="0">
                <a:ln>
                  <a:noFill/>
                </a:ln>
                <a:solidFill>
                  <a:srgbClr val="DE0A1D"/>
                </a:solidFill>
                <a:effectLst/>
                <a:uLnTx/>
                <a:uFillTx/>
                <a:latin typeface="Calibri" panose="020F0502020204030204"/>
                <a:ea typeface="+mn-ea"/>
                <a:cs typeface="+mn-cs"/>
              </a:rPr>
              <a:t>emotionale Verbindung </a:t>
            </a:r>
            <a:r>
              <a:rPr kumimoji="0" lang="en-US" sz="2000" b="0" i="0" u="none" strike="noStrike" kern="1200" cap="none" spc="0" normalizeH="0" baseline="0" noProof="0" dirty="0">
                <a:ln>
                  <a:noFill/>
                </a:ln>
                <a:solidFill>
                  <a:srgbClr val="086575"/>
                </a:solidFill>
                <a:effectLst/>
                <a:uLnTx/>
                <a:uFillTx/>
                <a:latin typeface="Calibri" panose="020F0502020204030204"/>
                <a:ea typeface="+mn-ea"/>
                <a:cs typeface="+mn-cs"/>
              </a:rPr>
              <a:t>mit dem Verbraucher herstellen und in seinem Gedächtnis bleiben sollte.</a:t>
            </a:r>
          </a:p>
          <a:p>
            <a:endParaRPr lang="en-US" sz="2000" dirty="0">
              <a:solidFill>
                <a:srgbClr val="DE0A1D"/>
              </a:solidFill>
            </a:endParaRPr>
          </a:p>
        </p:txBody>
      </p:sp>
    </p:spTree>
    <p:extLst>
      <p:ext uri="{BB962C8B-B14F-4D97-AF65-F5344CB8AC3E}">
        <p14:creationId xmlns:p14="http://schemas.microsoft.com/office/powerpoint/2010/main" val="10047492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B61C2F-913C-2FBD-14E5-579CA75731CD}"/>
              </a:ext>
            </a:extLst>
          </p:cNvPr>
          <p:cNvGraphicFramePr>
            <a:graphicFrameLocks noChangeAspect="1"/>
          </p:cNvGraphicFramePr>
          <p:nvPr>
            <p:custDataLst>
              <p:tags r:id="rId1"/>
            </p:custDataLst>
            <p:extLst>
              <p:ext uri="{D42A27DB-BD31-4B8C-83A1-F6EECF244321}">
                <p14:modId xmlns:p14="http://schemas.microsoft.com/office/powerpoint/2010/main" val="2935873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a:solidFill>
                  <a:srgbClr val="47B5C8"/>
                </a:solidFill>
              </a:rPr>
              <a:t>Identifizieren Sie die Persönlichkeit Ihrer Marke </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336141" y="1249559"/>
            <a:ext cx="7183455" cy="999383"/>
          </a:xfrm>
        </p:spPr>
        <p:txBody>
          <a:bodyPr/>
          <a:lstStyle/>
          <a:p>
            <a:r>
              <a:rPr lang="en-GB" sz="1800" dirty="0"/>
              <a:t>Stellen Sie sich Ihre Marke als eine Person vor: Was ist ihre Persönlichkeit? Stellen Sie sicher, dass diese in all Ihren Marketingbotschaften deutlich zum Ausdruck kommt.</a:t>
            </a:r>
          </a:p>
          <a:p>
            <a:endParaRPr lang="en-US" sz="1800" dirty="0"/>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a:solidFill>
                  <a:srgbClr val="47B5C8"/>
                </a:solidFill>
              </a:rPr>
              <a:t>Kennen Sie Ihre Grundwerte</a:t>
            </a:r>
          </a:p>
          <a:p>
            <a:endParaRPr lang="en-US">
              <a:solidFill>
                <a:srgbClr val="47B5C8"/>
              </a:solidFill>
            </a:endParaRP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383356" y="3268749"/>
            <a:ext cx="7129386" cy="999383"/>
          </a:xfrm>
        </p:spPr>
        <p:txBody>
          <a:bodyPr/>
          <a:lstStyle/>
          <a:p>
            <a:r>
              <a:rPr lang="en-US" sz="1800" dirty="0"/>
              <a:t>Diese sollten die Grundlage für alle Entscheidungen bilden, die Sie in Bezug auf Ihre Marke treffen. Indem Sie mitteilen, wofür Sie als Marke stehen, werden Sie Kunden anziehen, die Ihre Überzeugungen teilen.</a:t>
            </a:r>
          </a:p>
          <a:p>
            <a:pPr algn="l"/>
            <a:endParaRPr lang="en-US" sz="1800" dirty="0"/>
          </a:p>
          <a:p>
            <a:pPr algn="l"/>
            <a:endParaRPr lang="en-US" sz="1800" dirty="0"/>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a:solidFill>
                  <a:srgbClr val="47B5C8"/>
                </a:solidFill>
              </a:rPr>
              <a:t>Einzigartig sein</a:t>
            </a:r>
          </a:p>
          <a:p>
            <a:endParaRPr lang="en-US">
              <a:solidFill>
                <a:srgbClr val="47B5C8"/>
              </a:solidFill>
            </a:endParaRPr>
          </a:p>
        </p:txBody>
      </p:sp>
      <p:sp>
        <p:nvSpPr>
          <p:cNvPr id="12" name="Text Placeholder 11">
            <a:extLst>
              <a:ext uri="{FF2B5EF4-FFF2-40B4-BE49-F238E27FC236}">
                <a16:creationId xmlns:a16="http://schemas.microsoft.com/office/drawing/2014/main" id="{9BC75645-F9FD-244F-9028-F3DE8F14BD2C}"/>
              </a:ext>
            </a:extLst>
          </p:cNvPr>
          <p:cNvSpPr>
            <a:spLocks noGrp="1"/>
          </p:cNvSpPr>
          <p:nvPr>
            <p:ph type="body" sz="quarter" idx="46"/>
          </p:nvPr>
        </p:nvSpPr>
        <p:spPr>
          <a:xfrm>
            <a:off x="4471177" y="5036489"/>
            <a:ext cx="6953743" cy="999383"/>
          </a:xfrm>
        </p:spPr>
        <p:txBody>
          <a:bodyPr/>
          <a:lstStyle/>
          <a:p>
            <a:r>
              <a:rPr lang="en-GB" sz="1800" dirty="0"/>
              <a:t>Studieren Sie das Branding der Wettbewerber. Identifizieren Sie die Lücke und füllen Sie sie mit Ihrer Marke - große Marken fordern ihre Konkurrenten heraus.  Teilen Sie Ihre einzigartige Geschichte.</a:t>
            </a:r>
          </a:p>
          <a:p>
            <a:pPr algn="l"/>
            <a:endParaRPr lang="en-US" sz="1800" dirty="0"/>
          </a:p>
          <a:p>
            <a:endParaRPr lang="en-US" sz="1800" dirty="0"/>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a:t>3</a:t>
            </a:r>
          </a:p>
        </p:txBody>
      </p:sp>
      <p:sp>
        <p:nvSpPr>
          <p:cNvPr id="2" name="TextBox 1">
            <a:extLst>
              <a:ext uri="{FF2B5EF4-FFF2-40B4-BE49-F238E27FC236}">
                <a16:creationId xmlns:a16="http://schemas.microsoft.com/office/drawing/2014/main" id="{5AC9B147-4E24-B936-1F18-6256B293E87A}"/>
              </a:ext>
            </a:extLst>
          </p:cNvPr>
          <p:cNvSpPr txBox="1"/>
          <p:nvPr/>
        </p:nvSpPr>
        <p:spPr>
          <a:xfrm>
            <a:off x="5473767" y="214984"/>
            <a:ext cx="6175537" cy="461665"/>
          </a:xfrm>
          <a:prstGeom prst="rect">
            <a:avLst/>
          </a:prstGeom>
          <a:noFill/>
        </p:spPr>
        <p:txBody>
          <a:bodyPr wrap="none" rtlCol="0">
            <a:spAutoFit/>
          </a:bodyPr>
          <a:lstStyle/>
          <a:p>
            <a:pPr algn="r"/>
            <a:r>
              <a:rPr lang="en-GB" sz="2400" b="1">
                <a:solidFill>
                  <a:srgbClr val="47B5C8"/>
                </a:solidFill>
              </a:rPr>
              <a:t>DER SCHLÜSSEL ZUM AUFBAU EINER STARKEN MARKE SIND:</a:t>
            </a:r>
            <a:endParaRPr lang="en-IE" sz="2400" b="1">
              <a:solidFill>
                <a:srgbClr val="47B5C8"/>
              </a:solidFill>
            </a:endParaRPr>
          </a:p>
        </p:txBody>
      </p:sp>
      <p:pic>
        <p:nvPicPr>
          <p:cNvPr id="3" name="Picture Placeholder 14">
            <a:extLst>
              <a:ext uri="{FF2B5EF4-FFF2-40B4-BE49-F238E27FC236}">
                <a16:creationId xmlns:a16="http://schemas.microsoft.com/office/drawing/2014/main" id="{FED7B5FE-A9E8-A1BC-9365-7972CB1314EB}"/>
              </a:ext>
            </a:extLst>
          </p:cNvPr>
          <p:cNvPicPr>
            <a:picLocks noGrp="1" noChangeAspect="1"/>
          </p:cNvPicPr>
          <p:nvPr>
            <p:ph type="pic" sz="quarter" idx="41"/>
          </p:nvPr>
        </p:nvPicPr>
        <p:blipFill>
          <a:blip r:embed="rId5"/>
          <a:srcRect l="7161" r="7161"/>
          <a:stretch>
            <a:fillRect/>
          </a:stretch>
        </p:blipFill>
        <p:spPr>
          <a:xfrm>
            <a:off x="7938" y="188913"/>
            <a:ext cx="3354387" cy="5922962"/>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Tree>
    <p:extLst>
      <p:ext uri="{BB962C8B-B14F-4D97-AF65-F5344CB8AC3E}">
        <p14:creationId xmlns:p14="http://schemas.microsoft.com/office/powerpoint/2010/main" val="1614880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1979E4-B678-FFBA-3B16-5034C8C862E5}"/>
              </a:ext>
            </a:extLst>
          </p:cNvPr>
          <p:cNvSpPr>
            <a:spLocks noGrp="1"/>
          </p:cNvSpPr>
          <p:nvPr>
            <p:ph type="body" sz="quarter" idx="35"/>
          </p:nvPr>
        </p:nvSpPr>
        <p:spPr/>
        <p:txBody>
          <a:bodyPr/>
          <a:lstStyle/>
          <a:p>
            <a:r>
              <a:rPr lang="en-GB" sz="2000" dirty="0" err="1">
                <a:solidFill>
                  <a:srgbClr val="47B5C8"/>
                </a:solidFill>
              </a:rPr>
              <a:t>Seien</a:t>
            </a:r>
            <a:r>
              <a:rPr lang="en-GB" sz="2000" dirty="0">
                <a:solidFill>
                  <a:srgbClr val="47B5C8"/>
                </a:solidFill>
              </a:rPr>
              <a:t> Sie </a:t>
            </a:r>
            <a:r>
              <a:rPr lang="en-GB" sz="2000" dirty="0" err="1">
                <a:solidFill>
                  <a:srgbClr val="47B5C8"/>
                </a:solidFill>
              </a:rPr>
              <a:t>konsequent</a:t>
            </a:r>
            <a:endParaRPr lang="en-IE" sz="2000" dirty="0">
              <a:solidFill>
                <a:srgbClr val="47B5C8"/>
              </a:solidFill>
            </a:endParaRPr>
          </a:p>
        </p:txBody>
      </p:sp>
      <p:sp>
        <p:nvSpPr>
          <p:cNvPr id="3" name="Text Placeholder 2">
            <a:extLst>
              <a:ext uri="{FF2B5EF4-FFF2-40B4-BE49-F238E27FC236}">
                <a16:creationId xmlns:a16="http://schemas.microsoft.com/office/drawing/2014/main" id="{BC6068DC-B84A-4B2E-C058-A5BCBF18EEFF}"/>
              </a:ext>
            </a:extLst>
          </p:cNvPr>
          <p:cNvSpPr>
            <a:spLocks noGrp="1"/>
          </p:cNvSpPr>
          <p:nvPr>
            <p:ph type="body" sz="quarter" idx="36"/>
          </p:nvPr>
        </p:nvSpPr>
        <p:spPr>
          <a:xfrm>
            <a:off x="4385113" y="1270026"/>
            <a:ext cx="7080414" cy="999383"/>
          </a:xfrm>
        </p:spPr>
        <p:txBody>
          <a:bodyPr/>
          <a:lstStyle/>
          <a:p>
            <a:r>
              <a:rPr lang="en-US" sz="2000" dirty="0"/>
              <a:t>Stellen Sie sicher, dass Sie Ihre Marke auf dem Markt auf die gleiche Weise präsentieren, egal in welchem Medium - Sie schaffen eine Marke ... nicht 10!</a:t>
            </a:r>
          </a:p>
          <a:p>
            <a:endParaRPr lang="en-IE" sz="2000" dirty="0"/>
          </a:p>
        </p:txBody>
      </p:sp>
      <p:sp>
        <p:nvSpPr>
          <p:cNvPr id="4" name="Text Placeholder 3">
            <a:extLst>
              <a:ext uri="{FF2B5EF4-FFF2-40B4-BE49-F238E27FC236}">
                <a16:creationId xmlns:a16="http://schemas.microsoft.com/office/drawing/2014/main" id="{4AFA8B06-25D1-0B4E-081E-3957DFA35559}"/>
              </a:ext>
            </a:extLst>
          </p:cNvPr>
          <p:cNvSpPr>
            <a:spLocks noGrp="1"/>
          </p:cNvSpPr>
          <p:nvPr>
            <p:ph type="body" sz="quarter" idx="37"/>
          </p:nvPr>
        </p:nvSpPr>
        <p:spPr/>
        <p:txBody>
          <a:bodyPr/>
          <a:lstStyle/>
          <a:p>
            <a:r>
              <a:rPr lang="en-GB"/>
              <a:t>4</a:t>
            </a:r>
            <a:endParaRPr lang="en-IE"/>
          </a:p>
        </p:txBody>
      </p:sp>
      <p:sp>
        <p:nvSpPr>
          <p:cNvPr id="6" name="Text Placeholder 5">
            <a:extLst>
              <a:ext uri="{FF2B5EF4-FFF2-40B4-BE49-F238E27FC236}">
                <a16:creationId xmlns:a16="http://schemas.microsoft.com/office/drawing/2014/main" id="{2FD36D0E-34B2-8F4D-7962-AD8F9F7F0173}"/>
              </a:ext>
            </a:extLst>
          </p:cNvPr>
          <p:cNvSpPr>
            <a:spLocks noGrp="1"/>
          </p:cNvSpPr>
          <p:nvPr>
            <p:ph type="body" sz="quarter" idx="42"/>
          </p:nvPr>
        </p:nvSpPr>
        <p:spPr>
          <a:xfrm>
            <a:off x="4912292" y="2636982"/>
            <a:ext cx="6562677" cy="339415"/>
          </a:xfrm>
        </p:spPr>
        <p:txBody>
          <a:bodyPr/>
          <a:lstStyle/>
          <a:p>
            <a:r>
              <a:rPr lang="en-GB" sz="2000">
                <a:solidFill>
                  <a:srgbClr val="47B5C8"/>
                </a:solidFill>
              </a:rPr>
              <a:t>Dinge richtig tun</a:t>
            </a:r>
            <a:endParaRPr lang="en-IE" sz="2000">
              <a:solidFill>
                <a:srgbClr val="47B5C8"/>
              </a:solidFill>
            </a:endParaRPr>
          </a:p>
        </p:txBody>
      </p:sp>
      <p:sp>
        <p:nvSpPr>
          <p:cNvPr id="7" name="Text Placeholder 6">
            <a:extLst>
              <a:ext uri="{FF2B5EF4-FFF2-40B4-BE49-F238E27FC236}">
                <a16:creationId xmlns:a16="http://schemas.microsoft.com/office/drawing/2014/main" id="{1DF46186-B295-E66E-F137-C175B480948D}"/>
              </a:ext>
            </a:extLst>
          </p:cNvPr>
          <p:cNvSpPr>
            <a:spLocks noGrp="1"/>
          </p:cNvSpPr>
          <p:nvPr>
            <p:ph type="body" sz="quarter" idx="43"/>
          </p:nvPr>
        </p:nvSpPr>
        <p:spPr>
          <a:xfrm>
            <a:off x="4385113" y="2955328"/>
            <a:ext cx="7080415" cy="999383"/>
          </a:xfrm>
        </p:spPr>
        <p:txBody>
          <a:bodyPr/>
          <a:lstStyle/>
          <a:p>
            <a:r>
              <a:rPr lang="en-US" sz="2000" dirty="0"/>
              <a:t>Vermeiden Sie alles, was billig und schlampig ist: Druck, Design, Verpackung oder Fotografie; jede Kommunikation, die an Ihre Kunden geht, ist eine Gelegenheit, Ihre Marke zu stärken. </a:t>
            </a:r>
            <a:r>
              <a:rPr lang="en-GB" sz="2000" dirty="0"/>
              <a:t>Wenn dies bedeutet, weniger zu tun, dann tun Sie weniger. </a:t>
            </a:r>
            <a:endParaRPr lang="en-US" sz="2000" dirty="0"/>
          </a:p>
          <a:p>
            <a:endParaRPr lang="en-IE" sz="2000" dirty="0"/>
          </a:p>
        </p:txBody>
      </p:sp>
      <p:sp>
        <p:nvSpPr>
          <p:cNvPr id="8" name="Text Placeholder 7">
            <a:extLst>
              <a:ext uri="{FF2B5EF4-FFF2-40B4-BE49-F238E27FC236}">
                <a16:creationId xmlns:a16="http://schemas.microsoft.com/office/drawing/2014/main" id="{DC8EC7A4-4630-53AA-91D0-2908E7393B1F}"/>
              </a:ext>
            </a:extLst>
          </p:cNvPr>
          <p:cNvSpPr>
            <a:spLocks noGrp="1"/>
          </p:cNvSpPr>
          <p:nvPr>
            <p:ph type="body" sz="quarter" idx="44"/>
          </p:nvPr>
        </p:nvSpPr>
        <p:spPr/>
        <p:txBody>
          <a:bodyPr/>
          <a:lstStyle/>
          <a:p>
            <a:r>
              <a:rPr lang="en-GB"/>
              <a:t>5</a:t>
            </a:r>
            <a:endParaRPr lang="en-IE"/>
          </a:p>
        </p:txBody>
      </p:sp>
      <p:sp>
        <p:nvSpPr>
          <p:cNvPr id="14" name="Text Placeholder 1">
            <a:extLst>
              <a:ext uri="{FF2B5EF4-FFF2-40B4-BE49-F238E27FC236}">
                <a16:creationId xmlns:a16="http://schemas.microsoft.com/office/drawing/2014/main" id="{D48516CB-C226-C2D1-E470-CDC35333CB2C}"/>
              </a:ext>
            </a:extLst>
          </p:cNvPr>
          <p:cNvSpPr txBox="1">
            <a:spLocks/>
          </p:cNvSpPr>
          <p:nvPr/>
        </p:nvSpPr>
        <p:spPr>
          <a:xfrm>
            <a:off x="4394555" y="4573100"/>
            <a:ext cx="7080415" cy="859721"/>
          </a:xfrm>
          <a:prstGeom prst="rect">
            <a:avLst/>
          </a:prstGeom>
        </p:spPr>
        <p:txBody>
          <a:bodyPr>
            <a:noAutofit/>
          </a:bodyPr>
          <a:lstStyle>
            <a:lvl1pPr marL="0" indent="0" algn="r" defTabSz="914400" rtl="0" eaLnBrk="1" latinLnBrk="0" hangingPunct="1">
              <a:lnSpc>
                <a:spcPct val="100000"/>
              </a:lnSpc>
              <a:spcBef>
                <a:spcPts val="1000"/>
              </a:spcBef>
              <a:buFont typeface="Arial" panose="020B0604020202020204" pitchFamily="34" charset="0"/>
              <a:buNone/>
              <a:defRPr sz="2400" b="1" i="0" kern="1200">
                <a:solidFill>
                  <a:srgbClr val="595959"/>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srgbClr val="47B5C8"/>
                </a:solidFill>
              </a:rPr>
              <a:t>Wenn Sie eine große Marke aufbauen, werden Sie eine große Markentreue erzeugen. </a:t>
            </a:r>
          </a:p>
          <a:p>
            <a:pPr algn="ctr"/>
            <a:r>
              <a:rPr lang="en-GB" sz="2000" dirty="0">
                <a:solidFill>
                  <a:srgbClr val="47B5C8"/>
                </a:solidFill>
              </a:rPr>
              <a:t>Loyale Kunden werden zu Markenbotschaftern und sind kostengünstiger als die Gewinnung neuer Kunden.</a:t>
            </a:r>
            <a:endParaRPr lang="en-IE" sz="2000" dirty="0">
              <a:solidFill>
                <a:srgbClr val="47B5C8"/>
              </a:solidFill>
            </a:endParaRPr>
          </a:p>
        </p:txBody>
      </p:sp>
      <p:pic>
        <p:nvPicPr>
          <p:cNvPr id="5" name="Picture Placeholder 12">
            <a:extLst>
              <a:ext uri="{FF2B5EF4-FFF2-40B4-BE49-F238E27FC236}">
                <a16:creationId xmlns:a16="http://schemas.microsoft.com/office/drawing/2014/main" id="{DBCC1607-ABBD-A294-8B98-04E2FEC203AE}"/>
              </a:ext>
            </a:extLst>
          </p:cNvPr>
          <p:cNvPicPr>
            <a:picLocks noGrp="1" noChangeAspect="1"/>
          </p:cNvPicPr>
          <p:nvPr>
            <p:ph type="pic" sz="quarter" idx="41"/>
          </p:nvPr>
        </p:nvPicPr>
        <p:blipFill>
          <a:blip r:embed="rId2"/>
          <a:srcRect l="31122" r="31122"/>
          <a:stretch>
            <a:fillRect/>
          </a:stretch>
        </p:blipFill>
        <p:spPr>
          <a:xfrm>
            <a:off x="7938" y="188913"/>
            <a:ext cx="3354387" cy="5922962"/>
          </a:xfrm>
        </p:spPr>
      </p:pic>
      <p:pic>
        <p:nvPicPr>
          <p:cNvPr id="10" name="Picture 7">
            <a:extLst>
              <a:ext uri="{FF2B5EF4-FFF2-40B4-BE49-F238E27FC236}">
                <a16:creationId xmlns:a16="http://schemas.microsoft.com/office/drawing/2014/main" id="{4D42A86B-C83A-32DC-8479-FC931373B0D0}"/>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Tree>
    <p:extLst>
      <p:ext uri="{BB962C8B-B14F-4D97-AF65-F5344CB8AC3E}">
        <p14:creationId xmlns:p14="http://schemas.microsoft.com/office/powerpoint/2010/main" val="17908431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7B2039-8394-2C7D-6B4D-A3461594620B}"/>
              </a:ext>
            </a:extLst>
          </p:cNvPr>
          <p:cNvSpPr>
            <a:spLocks noGrp="1"/>
          </p:cNvSpPr>
          <p:nvPr>
            <p:ph type="body" sz="quarter" idx="18"/>
          </p:nvPr>
        </p:nvSpPr>
        <p:spPr>
          <a:xfrm>
            <a:off x="983462" y="2097850"/>
            <a:ext cx="4867011" cy="3025975"/>
          </a:xfrm>
        </p:spPr>
        <p:txBody>
          <a:bodyPr/>
          <a:lstStyle/>
          <a:p>
            <a:pPr marL="0" indent="0"/>
            <a:r>
              <a:rPr lang="en-US" sz="2400" dirty="0"/>
              <a:t>Ihre Herausforderung besteht darin, sich von anderen abzuheben und herauszufinden, wie Ihr Unternehmen den anderen in Ihrer Branche überlegen ist. </a:t>
            </a:r>
          </a:p>
          <a:p>
            <a:endParaRPr lang="en-US" dirty="0"/>
          </a:p>
          <a:p>
            <a:pPr marL="0" indent="0"/>
            <a:r>
              <a:rPr lang="en-US" sz="2400" dirty="0"/>
              <a:t>Sie müssen aufzeigen, warum Ihre Marke die </a:t>
            </a:r>
            <a:r>
              <a:rPr lang="en-US" sz="2400" b="1" dirty="0"/>
              <a:t>beste Lösung </a:t>
            </a:r>
            <a:r>
              <a:rPr lang="en-US" b="1" dirty="0"/>
              <a:t>für Ihren Kunden </a:t>
            </a:r>
            <a:r>
              <a:rPr lang="en-US" sz="2400" dirty="0"/>
              <a:t>ist.</a:t>
            </a:r>
            <a:endParaRPr lang="en-US" sz="2400" b="1" dirty="0"/>
          </a:p>
          <a:p>
            <a:endParaRPr lang="en-IE" dirty="0"/>
          </a:p>
        </p:txBody>
      </p:sp>
      <p:sp>
        <p:nvSpPr>
          <p:cNvPr id="3" name="Text Placeholder 2">
            <a:extLst>
              <a:ext uri="{FF2B5EF4-FFF2-40B4-BE49-F238E27FC236}">
                <a16:creationId xmlns:a16="http://schemas.microsoft.com/office/drawing/2014/main" id="{A901F56B-B9CC-E691-22A5-E2CB7505AFC9}"/>
              </a:ext>
            </a:extLst>
          </p:cNvPr>
          <p:cNvSpPr>
            <a:spLocks noGrp="1"/>
          </p:cNvSpPr>
          <p:nvPr>
            <p:ph type="body" sz="quarter" idx="16"/>
          </p:nvPr>
        </p:nvSpPr>
        <p:spPr>
          <a:xfrm>
            <a:off x="737937" y="890242"/>
            <a:ext cx="5358063" cy="992652"/>
          </a:xfrm>
        </p:spPr>
        <p:txBody>
          <a:bodyPr/>
          <a:lstStyle/>
          <a:p>
            <a:r>
              <a:rPr lang="en-GB"/>
              <a:t>Ihre Marke muss sich abheben</a:t>
            </a:r>
            <a:endParaRPr lang="en-IE"/>
          </a:p>
        </p:txBody>
      </p:sp>
      <p:pic>
        <p:nvPicPr>
          <p:cNvPr id="5" name="Picture Placeholder 5">
            <a:extLst>
              <a:ext uri="{FF2B5EF4-FFF2-40B4-BE49-F238E27FC236}">
                <a16:creationId xmlns:a16="http://schemas.microsoft.com/office/drawing/2014/main" id="{7B2B8A39-E14B-FF8F-3893-513A779B55CA}"/>
              </a:ext>
            </a:extLst>
          </p:cNvPr>
          <p:cNvPicPr>
            <a:picLocks noGrp="1" noChangeAspect="1"/>
          </p:cNvPicPr>
          <p:nvPr>
            <p:ph type="pic" sz="quarter" idx="42"/>
          </p:nvPr>
        </p:nvPicPr>
        <p:blipFill>
          <a:blip r:embed="rId2">
            <a:extLst>
              <a:ext uri="{28A0092B-C50C-407E-A947-70E740481C1C}">
                <a14:useLocalDpi xmlns:a14="http://schemas.microsoft.com/office/drawing/2010/main" val="0"/>
              </a:ext>
            </a:extLst>
          </a:blip>
          <a:srcRect l="4522" r="4522"/>
          <a:stretch>
            <a:fillRect/>
          </a:stretch>
        </p:blipFill>
        <p:spPr>
          <a:xfrm flipH="1">
            <a:off x="6545263" y="1452563"/>
            <a:ext cx="5646737" cy="4656137"/>
          </a:xfrm>
        </p:spPr>
      </p:pic>
    </p:spTree>
    <p:extLst>
      <p:ext uri="{BB962C8B-B14F-4D97-AF65-F5344CB8AC3E}">
        <p14:creationId xmlns:p14="http://schemas.microsoft.com/office/powerpoint/2010/main" val="15953819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888307"/>
            <a:ext cx="5755309" cy="3849918"/>
          </a:xfrm>
        </p:spPr>
        <p:txBody>
          <a:bodyPr/>
          <a:lstStyle/>
          <a:p>
            <a:endParaRPr lang="en-US"/>
          </a:p>
          <a:p>
            <a:r>
              <a:rPr lang="en-US" i="1"/>
              <a:t>"Die Marke LEGO ist mehr als nur unser bekanntes Logo. Sie steht für die Erwartungen, die die Menschen an das Unternehmen, seine Produkte und Dienstleistungen stellen, und für die Verantwortung, die die LEGO Gruppe gegenüber der Welt um sie herum empfindet. Die Marke ist ein Garant für Qualität und Originalität."</a:t>
            </a:r>
          </a:p>
          <a:p>
            <a:endParaRPr lang="en-US"/>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Lass dich von LEGO inspirieren</a:t>
            </a:r>
          </a:p>
          <a:p>
            <a:endParaRPr lang="en-US"/>
          </a:p>
        </p:txBody>
      </p:sp>
      <p:cxnSp>
        <p:nvCxnSpPr>
          <p:cNvPr id="3" name="Straight Connector 2">
            <a:extLst>
              <a:ext uri="{FF2B5EF4-FFF2-40B4-BE49-F238E27FC236}">
                <a16:creationId xmlns:a16="http://schemas.microsoft.com/office/drawing/2014/main" id="{BCDF10CF-65AD-3743-9CD4-1EF33FEE801C}"/>
              </a:ext>
            </a:extLst>
          </p:cNvPr>
          <p:cNvCxnSpPr>
            <a:cxnSpLocks/>
          </p:cNvCxnSpPr>
          <p:nvPr/>
        </p:nvCxnSpPr>
        <p:spPr>
          <a:xfrm>
            <a:off x="8050927" y="1565257"/>
            <a:ext cx="0" cy="429150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A9C874D-F56F-994C-4613-425F55C0A713}"/>
              </a:ext>
            </a:extLst>
          </p:cNvPr>
          <p:cNvSpPr/>
          <p:nvPr/>
        </p:nvSpPr>
        <p:spPr>
          <a:xfrm>
            <a:off x="7592899" y="664464"/>
            <a:ext cx="916056" cy="866552"/>
          </a:xfrm>
          <a:prstGeom prst="ellipse">
            <a:avLst/>
          </a:prstGeom>
          <a:solidFill>
            <a:srgbClr val="DE0A1D"/>
          </a:solidFill>
          <a:ln>
            <a:solidFill>
              <a:srgbClr val="DE0A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a:extLst>
              <a:ext uri="{FF2B5EF4-FFF2-40B4-BE49-F238E27FC236}">
                <a16:creationId xmlns:a16="http://schemas.microsoft.com/office/drawing/2014/main" id="{C769518F-A488-4524-9BC1-EEBC640E4E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0336" y="664464"/>
            <a:ext cx="741182" cy="741182"/>
          </a:xfrm>
          <a:prstGeom prst="rect">
            <a:avLst/>
          </a:prstGeom>
        </p:spPr>
      </p:pic>
      <p:sp>
        <p:nvSpPr>
          <p:cNvPr id="9" name="TextBox 8">
            <a:extLst>
              <a:ext uri="{FF2B5EF4-FFF2-40B4-BE49-F238E27FC236}">
                <a16:creationId xmlns:a16="http://schemas.microsoft.com/office/drawing/2014/main" id="{D61D552C-CBBF-21AE-110B-ED851D06D096}"/>
              </a:ext>
            </a:extLst>
          </p:cNvPr>
          <p:cNvSpPr txBox="1"/>
          <p:nvPr/>
        </p:nvSpPr>
        <p:spPr>
          <a:xfrm>
            <a:off x="8508954" y="4200649"/>
            <a:ext cx="2062791" cy="830997"/>
          </a:xfrm>
          <a:prstGeom prst="rect">
            <a:avLst/>
          </a:prstGeom>
          <a:noFill/>
        </p:spPr>
        <p:txBody>
          <a:bodyPr wrap="square" rtlCol="0">
            <a:spAutoFit/>
          </a:bodyPr>
          <a:lstStyle/>
          <a:p>
            <a:r>
              <a:rPr lang="en-GB" sz="1600" b="1" dirty="0">
                <a:solidFill>
                  <a:srgbClr val="DE0A1D"/>
                </a:solidFill>
              </a:rPr>
              <a:t>Das LEGO </a:t>
            </a:r>
            <a:r>
              <a:rPr lang="en-GB" sz="1600" b="1" dirty="0" err="1">
                <a:solidFill>
                  <a:srgbClr val="DE0A1D"/>
                </a:solidFill>
              </a:rPr>
              <a:t>Markenversprechen</a:t>
            </a:r>
            <a:r>
              <a:rPr lang="en-GB" sz="1600" b="1" dirty="0">
                <a:solidFill>
                  <a:srgbClr val="DE0A1D"/>
                </a:solidFill>
              </a:rPr>
              <a:t> </a:t>
            </a:r>
            <a:r>
              <a:rPr lang="en-GB" sz="1600" b="1" dirty="0" err="1">
                <a:solidFill>
                  <a:srgbClr val="DE0A1D"/>
                </a:solidFill>
              </a:rPr>
              <a:t>Beispiel</a:t>
            </a:r>
            <a:endParaRPr lang="en-IE" sz="1600" b="1" dirty="0">
              <a:solidFill>
                <a:srgbClr val="DE0A1D"/>
              </a:solidFill>
            </a:endParaRPr>
          </a:p>
        </p:txBody>
      </p:sp>
    </p:spTree>
    <p:extLst>
      <p:ext uri="{BB962C8B-B14F-4D97-AF65-F5344CB8AC3E}">
        <p14:creationId xmlns:p14="http://schemas.microsoft.com/office/powerpoint/2010/main" val="14457362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888307"/>
            <a:ext cx="5755309" cy="3849918"/>
          </a:xfrm>
        </p:spPr>
        <p:txBody>
          <a:bodyPr/>
          <a:lstStyle/>
          <a:p>
            <a:endParaRPr lang="en-US"/>
          </a:p>
          <a:p>
            <a:endParaRPr lang="en-US"/>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Lass dich von LEGO inspirieren</a:t>
            </a:r>
          </a:p>
          <a:p>
            <a:endParaRPr lang="en-US"/>
          </a:p>
        </p:txBody>
      </p:sp>
      <p:cxnSp>
        <p:nvCxnSpPr>
          <p:cNvPr id="3" name="Straight Connector 2">
            <a:extLst>
              <a:ext uri="{FF2B5EF4-FFF2-40B4-BE49-F238E27FC236}">
                <a16:creationId xmlns:a16="http://schemas.microsoft.com/office/drawing/2014/main" id="{BCDF10CF-65AD-3743-9CD4-1EF33FEE801C}"/>
              </a:ext>
            </a:extLst>
          </p:cNvPr>
          <p:cNvCxnSpPr>
            <a:cxnSpLocks/>
          </p:cNvCxnSpPr>
          <p:nvPr/>
        </p:nvCxnSpPr>
        <p:spPr>
          <a:xfrm>
            <a:off x="8050927" y="1565257"/>
            <a:ext cx="0" cy="429150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A9C874D-F56F-994C-4613-425F55C0A713}"/>
              </a:ext>
            </a:extLst>
          </p:cNvPr>
          <p:cNvSpPr/>
          <p:nvPr/>
        </p:nvSpPr>
        <p:spPr>
          <a:xfrm>
            <a:off x="7592899" y="664464"/>
            <a:ext cx="916056" cy="866552"/>
          </a:xfrm>
          <a:prstGeom prst="ellipse">
            <a:avLst/>
          </a:prstGeom>
          <a:solidFill>
            <a:srgbClr val="DE0A1D"/>
          </a:solidFill>
          <a:ln>
            <a:solidFill>
              <a:srgbClr val="DE0A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a:extLst>
              <a:ext uri="{FF2B5EF4-FFF2-40B4-BE49-F238E27FC236}">
                <a16:creationId xmlns:a16="http://schemas.microsoft.com/office/drawing/2014/main" id="{C769518F-A488-4524-9BC1-EEBC640E4E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0336" y="664464"/>
            <a:ext cx="741182" cy="741182"/>
          </a:xfrm>
          <a:prstGeom prst="rect">
            <a:avLst/>
          </a:prstGeom>
        </p:spPr>
      </p:pic>
      <p:sp>
        <p:nvSpPr>
          <p:cNvPr id="9" name="TextBox 8">
            <a:extLst>
              <a:ext uri="{FF2B5EF4-FFF2-40B4-BE49-F238E27FC236}">
                <a16:creationId xmlns:a16="http://schemas.microsoft.com/office/drawing/2014/main" id="{D61D552C-CBBF-21AE-110B-ED851D06D096}"/>
              </a:ext>
            </a:extLst>
          </p:cNvPr>
          <p:cNvSpPr txBox="1"/>
          <p:nvPr/>
        </p:nvSpPr>
        <p:spPr>
          <a:xfrm>
            <a:off x="8508954" y="4200649"/>
            <a:ext cx="2062791" cy="738664"/>
          </a:xfrm>
          <a:prstGeom prst="rect">
            <a:avLst/>
          </a:prstGeom>
          <a:noFill/>
        </p:spPr>
        <p:txBody>
          <a:bodyPr wrap="square" rtlCol="0">
            <a:spAutoFit/>
          </a:bodyPr>
          <a:lstStyle/>
          <a:p>
            <a:r>
              <a:rPr lang="en-GB" sz="1400" b="1" dirty="0">
                <a:solidFill>
                  <a:srgbClr val="DE0A1D"/>
                </a:solidFill>
              </a:rPr>
              <a:t>Das LEGO </a:t>
            </a:r>
            <a:r>
              <a:rPr lang="en-GB" sz="1400" b="1" dirty="0" err="1">
                <a:solidFill>
                  <a:srgbClr val="DE0A1D"/>
                </a:solidFill>
              </a:rPr>
              <a:t>Markenversprechen</a:t>
            </a:r>
            <a:r>
              <a:rPr lang="en-GB" sz="1400" b="1" dirty="0">
                <a:solidFill>
                  <a:srgbClr val="DE0A1D"/>
                </a:solidFill>
              </a:rPr>
              <a:t> </a:t>
            </a:r>
            <a:r>
              <a:rPr lang="en-GB" sz="1400" b="1" dirty="0" err="1">
                <a:solidFill>
                  <a:srgbClr val="DE0A1D"/>
                </a:solidFill>
              </a:rPr>
              <a:t>Beispiel</a:t>
            </a:r>
            <a:endParaRPr lang="en-IE" sz="1400" b="1" dirty="0">
              <a:solidFill>
                <a:srgbClr val="DE0A1D"/>
              </a:solidFill>
            </a:endParaRPr>
          </a:p>
        </p:txBody>
      </p:sp>
      <p:pic>
        <p:nvPicPr>
          <p:cNvPr id="6" name="Picture 2" descr="https://www.lego.com/r/www/r/aboutus/-/media/aboutus/img/lbf16.png?la=en-US&amp;l.r=-167079166">
            <a:extLst>
              <a:ext uri="{FF2B5EF4-FFF2-40B4-BE49-F238E27FC236}">
                <a16:creationId xmlns:a16="http://schemas.microsoft.com/office/drawing/2014/main" id="{5955736E-185A-D78F-E11D-FBCC7DAE09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415" y="1888307"/>
            <a:ext cx="7139317" cy="3141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5914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888307"/>
            <a:ext cx="5755309" cy="3849918"/>
          </a:xfrm>
        </p:spPr>
        <p:txBody>
          <a:bodyPr/>
          <a:lstStyle/>
          <a:p>
            <a:endParaRPr lang="en-US"/>
          </a:p>
          <a:p>
            <a:endParaRPr lang="en-US"/>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477540" y="893226"/>
            <a:ext cx="7485950" cy="803654"/>
          </a:xfrm>
        </p:spPr>
        <p:txBody>
          <a:bodyPr/>
          <a:lstStyle/>
          <a:p>
            <a:r>
              <a:rPr lang="en-US">
                <a:solidFill>
                  <a:schemeClr val="bg1"/>
                </a:solidFill>
              </a:rPr>
              <a:t>Lass dich von LEGO inspirieren</a:t>
            </a:r>
          </a:p>
          <a:p>
            <a:r>
              <a:rPr lang="en-US" sz="2400"/>
              <a:t>Lego erklärt jeden seiner Werte auf seiner Website und das ist eine interessante Lektüre</a:t>
            </a:r>
            <a:r>
              <a:rPr lang="is-IS" sz="2400"/>
              <a:t>...</a:t>
            </a:r>
            <a:endParaRPr lang="en-US" sz="2400"/>
          </a:p>
          <a:p>
            <a:endParaRPr lang="en-US"/>
          </a:p>
        </p:txBody>
      </p:sp>
      <p:cxnSp>
        <p:nvCxnSpPr>
          <p:cNvPr id="3" name="Straight Connector 2">
            <a:extLst>
              <a:ext uri="{FF2B5EF4-FFF2-40B4-BE49-F238E27FC236}">
                <a16:creationId xmlns:a16="http://schemas.microsoft.com/office/drawing/2014/main" id="{BCDF10CF-65AD-3743-9CD4-1EF33FEE801C}"/>
              </a:ext>
            </a:extLst>
          </p:cNvPr>
          <p:cNvCxnSpPr>
            <a:cxnSpLocks/>
          </p:cNvCxnSpPr>
          <p:nvPr/>
        </p:nvCxnSpPr>
        <p:spPr>
          <a:xfrm>
            <a:off x="8050927" y="1565257"/>
            <a:ext cx="0" cy="429150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A9C874D-F56F-994C-4613-425F55C0A713}"/>
              </a:ext>
            </a:extLst>
          </p:cNvPr>
          <p:cNvSpPr/>
          <p:nvPr/>
        </p:nvSpPr>
        <p:spPr>
          <a:xfrm>
            <a:off x="7592899" y="664464"/>
            <a:ext cx="916056" cy="866552"/>
          </a:xfrm>
          <a:prstGeom prst="ellipse">
            <a:avLst/>
          </a:prstGeom>
          <a:solidFill>
            <a:srgbClr val="DE0A1D"/>
          </a:solidFill>
          <a:ln>
            <a:solidFill>
              <a:srgbClr val="DE0A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a:extLst>
              <a:ext uri="{FF2B5EF4-FFF2-40B4-BE49-F238E27FC236}">
                <a16:creationId xmlns:a16="http://schemas.microsoft.com/office/drawing/2014/main" id="{C769518F-A488-4524-9BC1-EEBC640E4E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0336" y="664464"/>
            <a:ext cx="741182" cy="741182"/>
          </a:xfrm>
          <a:prstGeom prst="rect">
            <a:avLst/>
          </a:prstGeom>
        </p:spPr>
      </p:pic>
      <p:sp>
        <p:nvSpPr>
          <p:cNvPr id="9" name="TextBox 8">
            <a:extLst>
              <a:ext uri="{FF2B5EF4-FFF2-40B4-BE49-F238E27FC236}">
                <a16:creationId xmlns:a16="http://schemas.microsoft.com/office/drawing/2014/main" id="{D61D552C-CBBF-21AE-110B-ED851D06D096}"/>
              </a:ext>
            </a:extLst>
          </p:cNvPr>
          <p:cNvSpPr txBox="1"/>
          <p:nvPr/>
        </p:nvSpPr>
        <p:spPr>
          <a:xfrm>
            <a:off x="8508954" y="4200649"/>
            <a:ext cx="2062791" cy="738664"/>
          </a:xfrm>
          <a:prstGeom prst="rect">
            <a:avLst/>
          </a:prstGeom>
          <a:noFill/>
        </p:spPr>
        <p:txBody>
          <a:bodyPr wrap="square" rtlCol="0">
            <a:spAutoFit/>
          </a:bodyPr>
          <a:lstStyle/>
          <a:p>
            <a:r>
              <a:rPr lang="en-GB" sz="1400" b="1" dirty="0">
                <a:solidFill>
                  <a:srgbClr val="DE0A1D"/>
                </a:solidFill>
              </a:rPr>
              <a:t>Das LEGO </a:t>
            </a:r>
            <a:r>
              <a:rPr lang="en-GB" sz="1400" b="1" dirty="0" err="1">
                <a:solidFill>
                  <a:srgbClr val="DE0A1D"/>
                </a:solidFill>
              </a:rPr>
              <a:t>Markenversprechen</a:t>
            </a:r>
            <a:r>
              <a:rPr lang="en-GB" sz="1400" b="1" dirty="0">
                <a:solidFill>
                  <a:srgbClr val="DE0A1D"/>
                </a:solidFill>
              </a:rPr>
              <a:t> </a:t>
            </a:r>
            <a:r>
              <a:rPr lang="en-GB" sz="1400" b="1" dirty="0" err="1">
                <a:solidFill>
                  <a:srgbClr val="DE0A1D"/>
                </a:solidFill>
              </a:rPr>
              <a:t>Beispiel</a:t>
            </a:r>
            <a:endParaRPr lang="en-IE" sz="1400" b="1" dirty="0">
              <a:solidFill>
                <a:srgbClr val="DE0A1D"/>
              </a:solidFill>
            </a:endParaRPr>
          </a:p>
        </p:txBody>
      </p:sp>
      <p:pic>
        <p:nvPicPr>
          <p:cNvPr id="10" name="Picture 9">
            <a:extLst>
              <a:ext uri="{FF2B5EF4-FFF2-40B4-BE49-F238E27FC236}">
                <a16:creationId xmlns:a16="http://schemas.microsoft.com/office/drawing/2014/main" id="{C1A57390-A2B8-3492-0EA3-B374FD2A8483}"/>
              </a:ext>
            </a:extLst>
          </p:cNvPr>
          <p:cNvPicPr>
            <a:picLocks noChangeAspect="1"/>
          </p:cNvPicPr>
          <p:nvPr/>
        </p:nvPicPr>
        <p:blipFill rotWithShape="1">
          <a:blip r:embed="rId3">
            <a:extLst>
              <a:ext uri="{28A0092B-C50C-407E-A947-70E740481C1C}">
                <a14:useLocalDpi xmlns:a14="http://schemas.microsoft.com/office/drawing/2010/main" val="0"/>
              </a:ext>
            </a:extLst>
          </a:blip>
          <a:srcRect l="-3424" t="-1173" r="30537" b="12394"/>
          <a:stretch/>
        </p:blipFill>
        <p:spPr>
          <a:xfrm>
            <a:off x="2070571" y="1888307"/>
            <a:ext cx="5971083" cy="4481824"/>
          </a:xfrm>
          <a:prstGeom prst="rect">
            <a:avLst/>
          </a:prstGeom>
        </p:spPr>
      </p:pic>
      <p:sp>
        <p:nvSpPr>
          <p:cNvPr id="11" name="Picture Placeholder 5">
            <a:hlinkClick r:id="rId4"/>
            <a:extLst>
              <a:ext uri="{FF2B5EF4-FFF2-40B4-BE49-F238E27FC236}">
                <a16:creationId xmlns:a16="http://schemas.microsoft.com/office/drawing/2014/main" id="{3E42B0EE-58F9-1FF2-D8D3-DB9D2D3BC25B}"/>
              </a:ext>
            </a:extLst>
          </p:cNvPr>
          <p:cNvSpPr txBox="1">
            <a:spLocks/>
          </p:cNvSpPr>
          <p:nvPr/>
        </p:nvSpPr>
        <p:spPr>
          <a:xfrm>
            <a:off x="3014925" y="2653935"/>
            <a:ext cx="3472360" cy="2262874"/>
          </a:xfrm>
          <a:prstGeom prst="rect">
            <a:avLst/>
          </a:prstGeom>
          <a:blipFill>
            <a:blip r:embed="rId5"/>
            <a:srcRect/>
            <a:stretch>
              <a:fillRect l="-6756" r="-6756"/>
            </a:stretch>
          </a:blip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kern="1200" baseline="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a:p>
        </p:txBody>
      </p:sp>
      <p:sp>
        <p:nvSpPr>
          <p:cNvPr id="12" name="Oval 11">
            <a:hlinkClick r:id="rId4"/>
            <a:extLst>
              <a:ext uri="{FF2B5EF4-FFF2-40B4-BE49-F238E27FC236}">
                <a16:creationId xmlns:a16="http://schemas.microsoft.com/office/drawing/2014/main" id="{C512EBCD-AAA4-423E-F8A8-965177475068}"/>
              </a:ext>
            </a:extLst>
          </p:cNvPr>
          <p:cNvSpPr/>
          <p:nvPr/>
        </p:nvSpPr>
        <p:spPr>
          <a:xfrm>
            <a:off x="1221503" y="3905006"/>
            <a:ext cx="1685925" cy="1685925"/>
          </a:xfrm>
          <a:prstGeom prst="ellipse">
            <a:avLst/>
          </a:prstGeom>
          <a:solidFill>
            <a:srgbClr val="DE0A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a:solidFill>
                  <a:schemeClr val="bg1"/>
                </a:solidFill>
              </a:rPr>
              <a:t>ZUM ANSEHEN KLICKEN</a:t>
            </a:r>
          </a:p>
        </p:txBody>
      </p:sp>
      <p:grpSp>
        <p:nvGrpSpPr>
          <p:cNvPr id="13" name="Google Shape;612;p39">
            <a:extLst>
              <a:ext uri="{FF2B5EF4-FFF2-40B4-BE49-F238E27FC236}">
                <a16:creationId xmlns:a16="http://schemas.microsoft.com/office/drawing/2014/main" id="{CFCBAB45-78C7-1C36-F700-8CDBB5447F6E}"/>
              </a:ext>
            </a:extLst>
          </p:cNvPr>
          <p:cNvGrpSpPr/>
          <p:nvPr/>
        </p:nvGrpSpPr>
        <p:grpSpPr>
          <a:xfrm>
            <a:off x="1788617" y="4835660"/>
            <a:ext cx="453026" cy="462520"/>
            <a:chOff x="3951850" y="2985350"/>
            <a:chExt cx="407950" cy="416500"/>
          </a:xfrm>
        </p:grpSpPr>
        <p:sp>
          <p:nvSpPr>
            <p:cNvPr id="14" name="Google Shape;613;p39">
              <a:extLst>
                <a:ext uri="{FF2B5EF4-FFF2-40B4-BE49-F238E27FC236}">
                  <a16:creationId xmlns:a16="http://schemas.microsoft.com/office/drawing/2014/main" id="{0DC08C04-C34F-FE6E-4523-AF2CD453B18A}"/>
                </a:ext>
              </a:extLst>
            </p:cNvPr>
            <p:cNvSpPr/>
            <p:nvPr/>
          </p:nvSpPr>
          <p:spPr>
            <a:xfrm>
              <a:off x="3951850" y="2985350"/>
              <a:ext cx="314800" cy="314825"/>
            </a:xfrm>
            <a:custGeom>
              <a:avLst/>
              <a:gdLst/>
              <a:ahLst/>
              <a:cxnLst/>
              <a:rect l="l" t="t" r="r" b="b"/>
              <a:pathLst>
                <a:path w="12592" h="12593" fill="none" extrusionOk="0">
                  <a:moveTo>
                    <a:pt x="6284" y="1"/>
                  </a:moveTo>
                  <a:lnTo>
                    <a:pt x="6284" y="1"/>
                  </a:lnTo>
                  <a:lnTo>
                    <a:pt x="5967" y="25"/>
                  </a:lnTo>
                  <a:lnTo>
                    <a:pt x="5651" y="49"/>
                  </a:lnTo>
                  <a:lnTo>
                    <a:pt x="5334" y="74"/>
                  </a:lnTo>
                  <a:lnTo>
                    <a:pt x="5017" y="147"/>
                  </a:lnTo>
                  <a:lnTo>
                    <a:pt x="4725" y="220"/>
                  </a:lnTo>
                  <a:lnTo>
                    <a:pt x="4433" y="293"/>
                  </a:lnTo>
                  <a:lnTo>
                    <a:pt x="4141" y="390"/>
                  </a:lnTo>
                  <a:lnTo>
                    <a:pt x="3848" y="512"/>
                  </a:lnTo>
                  <a:lnTo>
                    <a:pt x="3556" y="634"/>
                  </a:lnTo>
                  <a:lnTo>
                    <a:pt x="3288" y="780"/>
                  </a:lnTo>
                  <a:lnTo>
                    <a:pt x="3020" y="926"/>
                  </a:lnTo>
                  <a:lnTo>
                    <a:pt x="2777" y="1072"/>
                  </a:lnTo>
                  <a:lnTo>
                    <a:pt x="2290" y="1437"/>
                  </a:lnTo>
                  <a:lnTo>
                    <a:pt x="1851" y="1852"/>
                  </a:lnTo>
                  <a:lnTo>
                    <a:pt x="1437" y="2290"/>
                  </a:lnTo>
                  <a:lnTo>
                    <a:pt x="1072" y="2777"/>
                  </a:lnTo>
                  <a:lnTo>
                    <a:pt x="901" y="3045"/>
                  </a:lnTo>
                  <a:lnTo>
                    <a:pt x="755" y="3313"/>
                  </a:lnTo>
                  <a:lnTo>
                    <a:pt x="609" y="3581"/>
                  </a:lnTo>
                  <a:lnTo>
                    <a:pt x="487" y="3849"/>
                  </a:lnTo>
                  <a:lnTo>
                    <a:pt x="390" y="4141"/>
                  </a:lnTo>
                  <a:lnTo>
                    <a:pt x="292" y="4433"/>
                  </a:lnTo>
                  <a:lnTo>
                    <a:pt x="195" y="4725"/>
                  </a:lnTo>
                  <a:lnTo>
                    <a:pt x="122" y="5042"/>
                  </a:lnTo>
                  <a:lnTo>
                    <a:pt x="73" y="5334"/>
                  </a:lnTo>
                  <a:lnTo>
                    <a:pt x="25" y="5651"/>
                  </a:lnTo>
                  <a:lnTo>
                    <a:pt x="0" y="5968"/>
                  </a:lnTo>
                  <a:lnTo>
                    <a:pt x="0" y="6308"/>
                  </a:lnTo>
                  <a:lnTo>
                    <a:pt x="0" y="6308"/>
                  </a:lnTo>
                  <a:lnTo>
                    <a:pt x="0" y="6625"/>
                  </a:lnTo>
                  <a:lnTo>
                    <a:pt x="25" y="6942"/>
                  </a:lnTo>
                  <a:lnTo>
                    <a:pt x="73" y="7258"/>
                  </a:lnTo>
                  <a:lnTo>
                    <a:pt x="122" y="7575"/>
                  </a:lnTo>
                  <a:lnTo>
                    <a:pt x="195" y="7867"/>
                  </a:lnTo>
                  <a:lnTo>
                    <a:pt x="292" y="8184"/>
                  </a:lnTo>
                  <a:lnTo>
                    <a:pt x="390" y="8476"/>
                  </a:lnTo>
                  <a:lnTo>
                    <a:pt x="487" y="8744"/>
                  </a:lnTo>
                  <a:lnTo>
                    <a:pt x="609" y="9036"/>
                  </a:lnTo>
                  <a:lnTo>
                    <a:pt x="755" y="9304"/>
                  </a:lnTo>
                  <a:lnTo>
                    <a:pt x="901" y="9572"/>
                  </a:lnTo>
                  <a:lnTo>
                    <a:pt x="1072" y="9816"/>
                  </a:lnTo>
                  <a:lnTo>
                    <a:pt x="1437" y="10303"/>
                  </a:lnTo>
                  <a:lnTo>
                    <a:pt x="1851" y="10741"/>
                  </a:lnTo>
                  <a:lnTo>
                    <a:pt x="2290" y="11155"/>
                  </a:lnTo>
                  <a:lnTo>
                    <a:pt x="2777" y="11520"/>
                  </a:lnTo>
                  <a:lnTo>
                    <a:pt x="3020" y="11691"/>
                  </a:lnTo>
                  <a:lnTo>
                    <a:pt x="3288" y="11837"/>
                  </a:lnTo>
                  <a:lnTo>
                    <a:pt x="3556" y="11983"/>
                  </a:lnTo>
                  <a:lnTo>
                    <a:pt x="3848" y="12105"/>
                  </a:lnTo>
                  <a:lnTo>
                    <a:pt x="4141" y="12202"/>
                  </a:lnTo>
                  <a:lnTo>
                    <a:pt x="4433" y="12300"/>
                  </a:lnTo>
                  <a:lnTo>
                    <a:pt x="4725" y="12397"/>
                  </a:lnTo>
                  <a:lnTo>
                    <a:pt x="5017" y="12470"/>
                  </a:lnTo>
                  <a:lnTo>
                    <a:pt x="5334" y="12519"/>
                  </a:lnTo>
                  <a:lnTo>
                    <a:pt x="5651" y="12568"/>
                  </a:lnTo>
                  <a:lnTo>
                    <a:pt x="5967" y="12592"/>
                  </a:lnTo>
                  <a:lnTo>
                    <a:pt x="6284" y="12592"/>
                  </a:lnTo>
                  <a:lnTo>
                    <a:pt x="6284" y="12592"/>
                  </a:lnTo>
                  <a:lnTo>
                    <a:pt x="6625" y="12592"/>
                  </a:lnTo>
                  <a:lnTo>
                    <a:pt x="6941" y="12568"/>
                  </a:lnTo>
                  <a:lnTo>
                    <a:pt x="7258" y="12519"/>
                  </a:lnTo>
                  <a:lnTo>
                    <a:pt x="7550" y="12470"/>
                  </a:lnTo>
                  <a:lnTo>
                    <a:pt x="7867" y="12397"/>
                  </a:lnTo>
                  <a:lnTo>
                    <a:pt x="8159" y="12300"/>
                  </a:lnTo>
                  <a:lnTo>
                    <a:pt x="8451" y="12202"/>
                  </a:lnTo>
                  <a:lnTo>
                    <a:pt x="8744" y="12105"/>
                  </a:lnTo>
                  <a:lnTo>
                    <a:pt x="9012" y="11983"/>
                  </a:lnTo>
                  <a:lnTo>
                    <a:pt x="9279" y="11837"/>
                  </a:lnTo>
                  <a:lnTo>
                    <a:pt x="9547" y="11691"/>
                  </a:lnTo>
                  <a:lnTo>
                    <a:pt x="9815" y="11520"/>
                  </a:lnTo>
                  <a:lnTo>
                    <a:pt x="10302" y="11155"/>
                  </a:lnTo>
                  <a:lnTo>
                    <a:pt x="10741" y="10741"/>
                  </a:lnTo>
                  <a:lnTo>
                    <a:pt x="11155" y="10303"/>
                  </a:lnTo>
                  <a:lnTo>
                    <a:pt x="11520" y="9816"/>
                  </a:lnTo>
                  <a:lnTo>
                    <a:pt x="11666" y="9572"/>
                  </a:lnTo>
                  <a:lnTo>
                    <a:pt x="11812" y="9304"/>
                  </a:lnTo>
                  <a:lnTo>
                    <a:pt x="11958" y="9036"/>
                  </a:lnTo>
                  <a:lnTo>
                    <a:pt x="12080" y="8744"/>
                  </a:lnTo>
                  <a:lnTo>
                    <a:pt x="12202" y="8476"/>
                  </a:lnTo>
                  <a:lnTo>
                    <a:pt x="12299" y="8184"/>
                  </a:lnTo>
                  <a:lnTo>
                    <a:pt x="12397" y="7867"/>
                  </a:lnTo>
                  <a:lnTo>
                    <a:pt x="12446" y="7575"/>
                  </a:lnTo>
                  <a:lnTo>
                    <a:pt x="12519" y="7258"/>
                  </a:lnTo>
                  <a:lnTo>
                    <a:pt x="12543" y="6942"/>
                  </a:lnTo>
                  <a:lnTo>
                    <a:pt x="12567" y="6625"/>
                  </a:lnTo>
                  <a:lnTo>
                    <a:pt x="12592" y="6308"/>
                  </a:lnTo>
                  <a:lnTo>
                    <a:pt x="12592" y="6308"/>
                  </a:lnTo>
                  <a:lnTo>
                    <a:pt x="12567" y="5968"/>
                  </a:lnTo>
                  <a:lnTo>
                    <a:pt x="12543" y="5651"/>
                  </a:lnTo>
                  <a:lnTo>
                    <a:pt x="12519" y="5334"/>
                  </a:lnTo>
                  <a:lnTo>
                    <a:pt x="12446" y="5042"/>
                  </a:lnTo>
                  <a:lnTo>
                    <a:pt x="12397" y="4725"/>
                  </a:lnTo>
                  <a:lnTo>
                    <a:pt x="12299" y="4433"/>
                  </a:lnTo>
                  <a:lnTo>
                    <a:pt x="12202" y="4141"/>
                  </a:lnTo>
                  <a:lnTo>
                    <a:pt x="12080" y="3849"/>
                  </a:lnTo>
                  <a:lnTo>
                    <a:pt x="11958" y="3581"/>
                  </a:lnTo>
                  <a:lnTo>
                    <a:pt x="11812" y="3313"/>
                  </a:lnTo>
                  <a:lnTo>
                    <a:pt x="11666" y="3045"/>
                  </a:lnTo>
                  <a:lnTo>
                    <a:pt x="11520" y="2777"/>
                  </a:lnTo>
                  <a:lnTo>
                    <a:pt x="11155" y="2290"/>
                  </a:lnTo>
                  <a:lnTo>
                    <a:pt x="10741" y="1852"/>
                  </a:lnTo>
                  <a:lnTo>
                    <a:pt x="10302" y="1437"/>
                  </a:lnTo>
                  <a:lnTo>
                    <a:pt x="9815" y="1072"/>
                  </a:lnTo>
                  <a:lnTo>
                    <a:pt x="9547" y="926"/>
                  </a:lnTo>
                  <a:lnTo>
                    <a:pt x="9279" y="780"/>
                  </a:lnTo>
                  <a:lnTo>
                    <a:pt x="9012" y="634"/>
                  </a:lnTo>
                  <a:lnTo>
                    <a:pt x="8744" y="512"/>
                  </a:lnTo>
                  <a:lnTo>
                    <a:pt x="8451" y="390"/>
                  </a:lnTo>
                  <a:lnTo>
                    <a:pt x="8159" y="293"/>
                  </a:lnTo>
                  <a:lnTo>
                    <a:pt x="7867" y="220"/>
                  </a:lnTo>
                  <a:lnTo>
                    <a:pt x="7550" y="147"/>
                  </a:lnTo>
                  <a:lnTo>
                    <a:pt x="7258" y="74"/>
                  </a:lnTo>
                  <a:lnTo>
                    <a:pt x="6941" y="49"/>
                  </a:lnTo>
                  <a:lnTo>
                    <a:pt x="6625" y="25"/>
                  </a:lnTo>
                  <a:lnTo>
                    <a:pt x="6284" y="1"/>
                  </a:lnTo>
                  <a:lnTo>
                    <a:pt x="6284" y="1"/>
                  </a:lnTo>
                  <a:close/>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14;p39">
              <a:extLst>
                <a:ext uri="{FF2B5EF4-FFF2-40B4-BE49-F238E27FC236}">
                  <a16:creationId xmlns:a16="http://schemas.microsoft.com/office/drawing/2014/main" id="{452E6513-97D9-FD38-32C3-BD877B75BC7F}"/>
                </a:ext>
              </a:extLst>
            </p:cNvPr>
            <p:cNvSpPr/>
            <p:nvPr/>
          </p:nvSpPr>
          <p:spPr>
            <a:xfrm>
              <a:off x="3988375" y="3021875"/>
              <a:ext cx="241750" cy="241750"/>
            </a:xfrm>
            <a:custGeom>
              <a:avLst/>
              <a:gdLst/>
              <a:ahLst/>
              <a:cxnLst/>
              <a:rect l="l" t="t" r="r" b="b"/>
              <a:pathLst>
                <a:path w="9670" h="9670" fill="none" extrusionOk="0">
                  <a:moveTo>
                    <a:pt x="4823" y="1"/>
                  </a:moveTo>
                  <a:lnTo>
                    <a:pt x="4823" y="1"/>
                  </a:lnTo>
                  <a:lnTo>
                    <a:pt x="4336" y="25"/>
                  </a:lnTo>
                  <a:lnTo>
                    <a:pt x="3849" y="98"/>
                  </a:lnTo>
                  <a:lnTo>
                    <a:pt x="3386" y="220"/>
                  </a:lnTo>
                  <a:lnTo>
                    <a:pt x="2947" y="391"/>
                  </a:lnTo>
                  <a:lnTo>
                    <a:pt x="2533" y="585"/>
                  </a:lnTo>
                  <a:lnTo>
                    <a:pt x="2144" y="829"/>
                  </a:lnTo>
                  <a:lnTo>
                    <a:pt x="1754" y="1121"/>
                  </a:lnTo>
                  <a:lnTo>
                    <a:pt x="1413" y="1438"/>
                  </a:lnTo>
                  <a:lnTo>
                    <a:pt x="1096" y="1779"/>
                  </a:lnTo>
                  <a:lnTo>
                    <a:pt x="829" y="2144"/>
                  </a:lnTo>
                  <a:lnTo>
                    <a:pt x="585" y="2534"/>
                  </a:lnTo>
                  <a:lnTo>
                    <a:pt x="390" y="2972"/>
                  </a:lnTo>
                  <a:lnTo>
                    <a:pt x="220" y="3411"/>
                  </a:lnTo>
                  <a:lnTo>
                    <a:pt x="98" y="3873"/>
                  </a:lnTo>
                  <a:lnTo>
                    <a:pt x="25" y="4336"/>
                  </a:lnTo>
                  <a:lnTo>
                    <a:pt x="1" y="4847"/>
                  </a:lnTo>
                  <a:lnTo>
                    <a:pt x="1" y="4847"/>
                  </a:lnTo>
                  <a:lnTo>
                    <a:pt x="25" y="5335"/>
                  </a:lnTo>
                  <a:lnTo>
                    <a:pt x="98" y="5822"/>
                  </a:lnTo>
                  <a:lnTo>
                    <a:pt x="220" y="6284"/>
                  </a:lnTo>
                  <a:lnTo>
                    <a:pt x="390" y="6723"/>
                  </a:lnTo>
                  <a:lnTo>
                    <a:pt x="585" y="7137"/>
                  </a:lnTo>
                  <a:lnTo>
                    <a:pt x="829" y="7527"/>
                  </a:lnTo>
                  <a:lnTo>
                    <a:pt x="1096" y="7916"/>
                  </a:lnTo>
                  <a:lnTo>
                    <a:pt x="1413" y="8257"/>
                  </a:lnTo>
                  <a:lnTo>
                    <a:pt x="1754" y="8574"/>
                  </a:lnTo>
                  <a:lnTo>
                    <a:pt x="2144" y="8842"/>
                  </a:lnTo>
                  <a:lnTo>
                    <a:pt x="2533" y="9085"/>
                  </a:lnTo>
                  <a:lnTo>
                    <a:pt x="2947" y="9280"/>
                  </a:lnTo>
                  <a:lnTo>
                    <a:pt x="3386" y="9451"/>
                  </a:lnTo>
                  <a:lnTo>
                    <a:pt x="3849" y="9572"/>
                  </a:lnTo>
                  <a:lnTo>
                    <a:pt x="4336" y="9645"/>
                  </a:lnTo>
                  <a:lnTo>
                    <a:pt x="4823" y="9670"/>
                  </a:lnTo>
                  <a:lnTo>
                    <a:pt x="4823" y="9670"/>
                  </a:lnTo>
                  <a:lnTo>
                    <a:pt x="5334" y="9645"/>
                  </a:lnTo>
                  <a:lnTo>
                    <a:pt x="5797" y="9572"/>
                  </a:lnTo>
                  <a:lnTo>
                    <a:pt x="6260" y="9451"/>
                  </a:lnTo>
                  <a:lnTo>
                    <a:pt x="6698" y="9280"/>
                  </a:lnTo>
                  <a:lnTo>
                    <a:pt x="7136" y="9085"/>
                  </a:lnTo>
                  <a:lnTo>
                    <a:pt x="7526" y="8842"/>
                  </a:lnTo>
                  <a:lnTo>
                    <a:pt x="7892" y="8574"/>
                  </a:lnTo>
                  <a:lnTo>
                    <a:pt x="8232" y="8257"/>
                  </a:lnTo>
                  <a:lnTo>
                    <a:pt x="8549" y="7916"/>
                  </a:lnTo>
                  <a:lnTo>
                    <a:pt x="8841" y="7527"/>
                  </a:lnTo>
                  <a:lnTo>
                    <a:pt x="9085" y="7137"/>
                  </a:lnTo>
                  <a:lnTo>
                    <a:pt x="9280" y="6723"/>
                  </a:lnTo>
                  <a:lnTo>
                    <a:pt x="9450" y="6284"/>
                  </a:lnTo>
                  <a:lnTo>
                    <a:pt x="9572" y="5822"/>
                  </a:lnTo>
                  <a:lnTo>
                    <a:pt x="9645" y="5335"/>
                  </a:lnTo>
                  <a:lnTo>
                    <a:pt x="9669" y="4847"/>
                  </a:lnTo>
                  <a:lnTo>
                    <a:pt x="9669" y="4847"/>
                  </a:lnTo>
                  <a:lnTo>
                    <a:pt x="9645" y="4336"/>
                  </a:lnTo>
                  <a:lnTo>
                    <a:pt x="9572" y="3873"/>
                  </a:lnTo>
                  <a:lnTo>
                    <a:pt x="9450" y="3411"/>
                  </a:lnTo>
                  <a:lnTo>
                    <a:pt x="9280" y="2972"/>
                  </a:lnTo>
                  <a:lnTo>
                    <a:pt x="9085" y="2534"/>
                  </a:lnTo>
                  <a:lnTo>
                    <a:pt x="8841" y="2144"/>
                  </a:lnTo>
                  <a:lnTo>
                    <a:pt x="8549" y="1779"/>
                  </a:lnTo>
                  <a:lnTo>
                    <a:pt x="8232" y="1438"/>
                  </a:lnTo>
                  <a:lnTo>
                    <a:pt x="7892" y="1121"/>
                  </a:lnTo>
                  <a:lnTo>
                    <a:pt x="7526" y="829"/>
                  </a:lnTo>
                  <a:lnTo>
                    <a:pt x="7136" y="585"/>
                  </a:lnTo>
                  <a:lnTo>
                    <a:pt x="6698" y="391"/>
                  </a:lnTo>
                  <a:lnTo>
                    <a:pt x="6260" y="220"/>
                  </a:lnTo>
                  <a:lnTo>
                    <a:pt x="5797" y="98"/>
                  </a:lnTo>
                  <a:lnTo>
                    <a:pt x="5334" y="25"/>
                  </a:lnTo>
                  <a:lnTo>
                    <a:pt x="4823" y="1"/>
                  </a:lnTo>
                  <a:lnTo>
                    <a:pt x="482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15;p39">
              <a:extLst>
                <a:ext uri="{FF2B5EF4-FFF2-40B4-BE49-F238E27FC236}">
                  <a16:creationId xmlns:a16="http://schemas.microsoft.com/office/drawing/2014/main" id="{384B45EA-D4C3-025F-F870-AA422A094BD3}"/>
                </a:ext>
              </a:extLst>
            </p:cNvPr>
            <p:cNvSpPr/>
            <p:nvPr/>
          </p:nvSpPr>
          <p:spPr>
            <a:xfrm>
              <a:off x="4024300" y="3058425"/>
              <a:ext cx="84650" cy="84650"/>
            </a:xfrm>
            <a:custGeom>
              <a:avLst/>
              <a:gdLst/>
              <a:ahLst/>
              <a:cxnLst/>
              <a:rect l="l" t="t" r="r" b="b"/>
              <a:pathLst>
                <a:path w="3386" h="3386" fill="none" extrusionOk="0">
                  <a:moveTo>
                    <a:pt x="0" y="3385"/>
                  </a:moveTo>
                  <a:lnTo>
                    <a:pt x="0" y="3385"/>
                  </a:lnTo>
                  <a:lnTo>
                    <a:pt x="25" y="3020"/>
                  </a:lnTo>
                  <a:lnTo>
                    <a:pt x="74" y="2704"/>
                  </a:lnTo>
                  <a:lnTo>
                    <a:pt x="147" y="2363"/>
                  </a:lnTo>
                  <a:lnTo>
                    <a:pt x="268" y="2070"/>
                  </a:lnTo>
                  <a:lnTo>
                    <a:pt x="414" y="1754"/>
                  </a:lnTo>
                  <a:lnTo>
                    <a:pt x="585" y="1486"/>
                  </a:lnTo>
                  <a:lnTo>
                    <a:pt x="780" y="1218"/>
                  </a:lnTo>
                  <a:lnTo>
                    <a:pt x="999" y="974"/>
                  </a:lnTo>
                  <a:lnTo>
                    <a:pt x="1243" y="755"/>
                  </a:lnTo>
                  <a:lnTo>
                    <a:pt x="1510" y="560"/>
                  </a:lnTo>
                  <a:lnTo>
                    <a:pt x="1778" y="390"/>
                  </a:lnTo>
                  <a:lnTo>
                    <a:pt x="2071" y="244"/>
                  </a:lnTo>
                  <a:lnTo>
                    <a:pt x="2387" y="146"/>
                  </a:lnTo>
                  <a:lnTo>
                    <a:pt x="2704" y="49"/>
                  </a:lnTo>
                  <a:lnTo>
                    <a:pt x="3045" y="0"/>
                  </a:lnTo>
                  <a:lnTo>
                    <a:pt x="3386"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16;p39">
              <a:extLst>
                <a:ext uri="{FF2B5EF4-FFF2-40B4-BE49-F238E27FC236}">
                  <a16:creationId xmlns:a16="http://schemas.microsoft.com/office/drawing/2014/main" id="{7EED03F2-9366-2FCB-B342-431160EDCF47}"/>
                </a:ext>
              </a:extLst>
            </p:cNvPr>
            <p:cNvSpPr/>
            <p:nvPr/>
          </p:nvSpPr>
          <p:spPr>
            <a:xfrm>
              <a:off x="4205750" y="3248375"/>
              <a:ext cx="154050" cy="153475"/>
            </a:xfrm>
            <a:custGeom>
              <a:avLst/>
              <a:gdLst/>
              <a:ahLst/>
              <a:cxnLst/>
              <a:rect l="l" t="t" r="r" b="b"/>
              <a:pathLst>
                <a:path w="6162" h="6139" fill="none" extrusionOk="0">
                  <a:moveTo>
                    <a:pt x="0" y="1024"/>
                  </a:moveTo>
                  <a:lnTo>
                    <a:pt x="4969" y="5992"/>
                  </a:lnTo>
                  <a:lnTo>
                    <a:pt x="4969" y="5992"/>
                  </a:lnTo>
                  <a:lnTo>
                    <a:pt x="5042" y="6041"/>
                  </a:lnTo>
                  <a:lnTo>
                    <a:pt x="5115" y="6090"/>
                  </a:lnTo>
                  <a:lnTo>
                    <a:pt x="5212" y="6114"/>
                  </a:lnTo>
                  <a:lnTo>
                    <a:pt x="5310" y="6138"/>
                  </a:lnTo>
                  <a:lnTo>
                    <a:pt x="5407" y="6114"/>
                  </a:lnTo>
                  <a:lnTo>
                    <a:pt x="5480" y="6090"/>
                  </a:lnTo>
                  <a:lnTo>
                    <a:pt x="5577" y="6041"/>
                  </a:lnTo>
                  <a:lnTo>
                    <a:pt x="5651" y="5992"/>
                  </a:lnTo>
                  <a:lnTo>
                    <a:pt x="6016" y="5627"/>
                  </a:lnTo>
                  <a:lnTo>
                    <a:pt x="6016" y="5627"/>
                  </a:lnTo>
                  <a:lnTo>
                    <a:pt x="6089" y="5554"/>
                  </a:lnTo>
                  <a:lnTo>
                    <a:pt x="6138" y="5456"/>
                  </a:lnTo>
                  <a:lnTo>
                    <a:pt x="6162" y="5359"/>
                  </a:lnTo>
                  <a:lnTo>
                    <a:pt x="6162" y="5286"/>
                  </a:lnTo>
                  <a:lnTo>
                    <a:pt x="6162" y="5188"/>
                  </a:lnTo>
                  <a:lnTo>
                    <a:pt x="6138" y="5091"/>
                  </a:lnTo>
                  <a:lnTo>
                    <a:pt x="6089" y="5018"/>
                  </a:lnTo>
                  <a:lnTo>
                    <a:pt x="6016" y="4921"/>
                  </a:lnTo>
                  <a:lnTo>
                    <a:pt x="1072"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9162606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025325" y="1468118"/>
            <a:ext cx="5809454" cy="3849918"/>
          </a:xfrm>
        </p:spPr>
        <p:txBody>
          <a:bodyPr/>
          <a:lstStyle/>
          <a:p>
            <a:r>
              <a:rPr lang="en-US" sz="2000" dirty="0"/>
              <a:t>Ihre Markengeschichte ist sehr wichtig.  Sie sollte eine Mischung sein aus </a:t>
            </a:r>
          </a:p>
          <a:p>
            <a:pPr marL="342900" indent="-342900">
              <a:buFont typeface="Arial" panose="020B0604020202020204" pitchFamily="34" charset="0"/>
              <a:buChar char="•"/>
            </a:pPr>
            <a:r>
              <a:rPr lang="en-US" sz="2000" dirty="0"/>
              <a:t>wie du entstanden bist </a:t>
            </a:r>
          </a:p>
          <a:p>
            <a:pPr marL="342900" indent="-342900">
              <a:buFont typeface="Arial" panose="020B0604020202020204" pitchFamily="34" charset="0"/>
              <a:buChar char="•"/>
            </a:pPr>
            <a:r>
              <a:rPr lang="en-US" sz="2000" dirty="0"/>
              <a:t>wofür Sie sich leidenschaftlich einsetzen</a:t>
            </a:r>
          </a:p>
          <a:p>
            <a:pPr marL="342900" indent="-342900">
              <a:buFont typeface="Arial" panose="020B0604020202020204" pitchFamily="34" charset="0"/>
              <a:buChar char="•"/>
            </a:pPr>
            <a:r>
              <a:rPr lang="en-US" sz="2000" dirty="0"/>
              <a:t>Ihre Unternehmenskultur (z. B. die ethischen Grundsätze Ihres Unternehmens - Umwelt usw.)</a:t>
            </a:r>
          </a:p>
          <a:p>
            <a:pPr marL="342900" indent="-342900">
              <a:buFont typeface="Arial" panose="020B0604020202020204" pitchFamily="34" charset="0"/>
              <a:buChar char="•"/>
            </a:pPr>
            <a:r>
              <a:rPr lang="en-US" sz="2000" dirty="0"/>
              <a:t>wie Ihr Produkt oder Ihre Dienstleistung das Leben der Menschen verbessert</a:t>
            </a:r>
          </a:p>
          <a:p>
            <a:pPr marL="342900" indent="-342900">
              <a:buFont typeface="Arial" panose="020B0604020202020204" pitchFamily="34" charset="0"/>
              <a:buChar char="•"/>
            </a:pPr>
            <a:r>
              <a:rPr lang="en-US" sz="2000" dirty="0"/>
              <a:t>warum Ihr Produkt oder Ihre Dienstleistung bemerkenswert ist.</a:t>
            </a:r>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Was </a:t>
            </a:r>
            <a:r>
              <a:rPr lang="en-US" sz="3200" dirty="0" err="1">
                <a:solidFill>
                  <a:schemeClr val="bg1"/>
                </a:solidFill>
              </a:rPr>
              <a:t>ist</a:t>
            </a:r>
            <a:r>
              <a:rPr lang="en-US" sz="3200" dirty="0">
                <a:solidFill>
                  <a:schemeClr val="bg1"/>
                </a:solidFill>
              </a:rPr>
              <a:t> </a:t>
            </a:r>
            <a:r>
              <a:rPr lang="en-US" sz="3200" dirty="0" err="1">
                <a:solidFill>
                  <a:schemeClr val="bg1"/>
                </a:solidFill>
              </a:rPr>
              <a:t>Ihre</a:t>
            </a:r>
            <a:r>
              <a:rPr lang="en-US" sz="3200" dirty="0">
                <a:solidFill>
                  <a:schemeClr val="bg1"/>
                </a:solidFill>
              </a:rPr>
              <a:t> </a:t>
            </a:r>
            <a:r>
              <a:rPr lang="en-US" sz="3200" dirty="0" err="1">
                <a:solidFill>
                  <a:schemeClr val="bg1"/>
                </a:solidFill>
              </a:rPr>
              <a:t>Markengeschichte</a:t>
            </a:r>
            <a:r>
              <a:rPr lang="en-US" sz="3200" dirty="0">
                <a:solidFill>
                  <a:schemeClr val="bg1"/>
                </a:solidFill>
              </a:rPr>
              <a:t>?</a:t>
            </a:r>
          </a:p>
          <a:p>
            <a:endParaRPr lang="en-US" sz="3200" dirty="0"/>
          </a:p>
        </p:txBody>
      </p:sp>
      <p:pic>
        <p:nvPicPr>
          <p:cNvPr id="8" name="Picture 7" descr="Two colleagues planning on board with sticky notes">
            <a:extLst>
              <a:ext uri="{FF2B5EF4-FFF2-40B4-BE49-F238E27FC236}">
                <a16:creationId xmlns:a16="http://schemas.microsoft.com/office/drawing/2014/main" id="{9EAFD153-F89F-6DB8-3AD3-81A4DB5B7E36}"/>
              </a:ext>
            </a:extLst>
          </p:cNvPr>
          <p:cNvPicPr>
            <a:picLocks noChangeAspect="1"/>
          </p:cNvPicPr>
          <p:nvPr/>
        </p:nvPicPr>
        <p:blipFill>
          <a:blip r:embed="rId2"/>
          <a:stretch>
            <a:fillRect/>
          </a:stretch>
        </p:blipFill>
        <p:spPr>
          <a:xfrm>
            <a:off x="530711" y="1983782"/>
            <a:ext cx="4371458" cy="2915728"/>
          </a:xfrm>
          <a:prstGeom prst="rect">
            <a:avLst/>
          </a:prstGeom>
        </p:spPr>
      </p:pic>
    </p:spTree>
    <p:extLst>
      <p:ext uri="{BB962C8B-B14F-4D97-AF65-F5344CB8AC3E}">
        <p14:creationId xmlns:p14="http://schemas.microsoft.com/office/powerpoint/2010/main" val="1146846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3879C924-631D-6838-9438-B5411A63ADD7}"/>
              </a:ext>
            </a:extLst>
          </p:cNvPr>
          <p:cNvSpPr/>
          <p:nvPr/>
        </p:nvSpPr>
        <p:spPr>
          <a:xfrm>
            <a:off x="-47195" y="595609"/>
            <a:ext cx="821846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5" name="Text Placeholder 4">
            <a:extLst>
              <a:ext uri="{FF2B5EF4-FFF2-40B4-BE49-F238E27FC236}">
                <a16:creationId xmlns:a16="http://schemas.microsoft.com/office/drawing/2014/main" id="{901331F3-1FAA-D347-8B9C-59F1536C295C}"/>
              </a:ext>
            </a:extLst>
          </p:cNvPr>
          <p:cNvSpPr>
            <a:spLocks noGrp="1"/>
          </p:cNvSpPr>
          <p:nvPr>
            <p:ph type="body" sz="quarter" idx="18"/>
          </p:nvPr>
        </p:nvSpPr>
        <p:spPr>
          <a:xfrm>
            <a:off x="741802" y="1674735"/>
            <a:ext cx="7977444" cy="3291086"/>
          </a:xfrm>
        </p:spPr>
        <p:txBody>
          <a:bodyPr/>
          <a:lstStyle/>
          <a:p>
            <a:pPr marL="0" indent="0"/>
            <a:r>
              <a:rPr lang="en-US" sz="1800" dirty="0"/>
              <a:t>Ihre Markengeschichte ist ein komplettes Bild, das sich aus Fakten, Gefühlen und Interpretationen zusammensetzt:</a:t>
            </a:r>
          </a:p>
          <a:p>
            <a:pPr marL="342900" indent="-342900">
              <a:buFont typeface="Arial" panose="020B0604020202020204" pitchFamily="34" charset="0"/>
              <a:buChar char="•"/>
            </a:pPr>
            <a:r>
              <a:rPr lang="en-US" sz="1800" dirty="0"/>
              <a:t>alles, was Sie tun, jedes Element Ihres Produkts und Ihres Geschäfts </a:t>
            </a:r>
          </a:p>
          <a:p>
            <a:pPr marL="342900" indent="-342900">
              <a:buFont typeface="Arial" panose="020B0604020202020204" pitchFamily="34" charset="0"/>
              <a:buChar char="•"/>
            </a:pPr>
            <a:r>
              <a:rPr lang="en-US" sz="1800" dirty="0"/>
              <a:t>die Art und Weise, wie Sie Ihr Produkt vorbereiten und präsentieren</a:t>
            </a:r>
          </a:p>
          <a:p>
            <a:pPr marL="342900" indent="-342900">
              <a:buFont typeface="Arial" panose="020B0604020202020204" pitchFamily="34" charset="0"/>
              <a:buChar char="•"/>
            </a:pPr>
            <a:r>
              <a:rPr lang="en-US" sz="1800" dirty="0"/>
              <a:t>Ihre Verpackung und Ihr Vertrieb</a:t>
            </a:r>
          </a:p>
          <a:p>
            <a:pPr marL="0" indent="0"/>
            <a:r>
              <a:rPr lang="en-US" sz="1800" dirty="0"/>
              <a:t>Gute Marken haben oft menschliche Züge, mit denen sich Ihre Zielgruppen identifizieren können.  Sie haben einen starken emotionalen Kontext. </a:t>
            </a:r>
          </a:p>
          <a:p>
            <a:pPr marL="0" indent="0"/>
            <a:r>
              <a:rPr lang="en-US" sz="1800" dirty="0"/>
              <a:t>Sie möchten, dass Ihre Zielkunden denken: "Er/Sie ist wie ich" oder "So denke ich auch", oder wir teilen dieselben Werte.</a:t>
            </a:r>
          </a:p>
          <a:p>
            <a:pPr marL="0" indent="0"/>
            <a:endParaRPr lang="en-US" sz="1800" dirty="0"/>
          </a:p>
          <a:p>
            <a:endParaRPr lang="en-US" sz="1800" dirty="0"/>
          </a:p>
          <a:p>
            <a:endParaRPr lang="en-US" sz="1800" dirty="0"/>
          </a:p>
        </p:txBody>
      </p:sp>
      <p:sp>
        <p:nvSpPr>
          <p:cNvPr id="2" name="Text Placeholder 1">
            <a:extLst>
              <a:ext uri="{FF2B5EF4-FFF2-40B4-BE49-F238E27FC236}">
                <a16:creationId xmlns:a16="http://schemas.microsoft.com/office/drawing/2014/main" id="{4807231A-8C56-9D46-8B91-D1040E2F919E}"/>
              </a:ext>
            </a:extLst>
          </p:cNvPr>
          <p:cNvSpPr>
            <a:spLocks noGrp="1"/>
          </p:cNvSpPr>
          <p:nvPr>
            <p:ph type="body" sz="quarter" idx="16"/>
          </p:nvPr>
        </p:nvSpPr>
        <p:spPr>
          <a:xfrm>
            <a:off x="245735" y="750369"/>
            <a:ext cx="7382793" cy="992652"/>
          </a:xfrm>
        </p:spPr>
        <p:txBody>
          <a:bodyPr/>
          <a:lstStyle/>
          <a:p>
            <a:r>
              <a:rPr lang="en-US" sz="2800" dirty="0"/>
              <a:t>Warum ist Ihre Markengeschichte so wichtig?</a:t>
            </a:r>
          </a:p>
          <a:p>
            <a:endParaRPr lang="en-US" sz="2800" dirty="0"/>
          </a:p>
        </p:txBody>
      </p:sp>
      <p:pic>
        <p:nvPicPr>
          <p:cNvPr id="13" name="Picture Placeholder 12">
            <a:extLst>
              <a:ext uri="{FF2B5EF4-FFF2-40B4-BE49-F238E27FC236}">
                <a16:creationId xmlns:a16="http://schemas.microsoft.com/office/drawing/2014/main" id="{DAA0FC53-5993-7B9C-A6A4-CCC6F2D5F422}"/>
              </a:ext>
            </a:extLst>
          </p:cNvPr>
          <p:cNvPicPr>
            <a:picLocks noGrp="1" noChangeAspect="1"/>
          </p:cNvPicPr>
          <p:nvPr>
            <p:ph type="pic" sz="quarter" idx="10"/>
          </p:nvPr>
        </p:nvPicPr>
        <p:blipFill>
          <a:blip r:embed="rId2"/>
          <a:srcRect l="8890" r="8890"/>
          <a:stretch>
            <a:fillRect/>
          </a:stretch>
        </p:blipFill>
        <p:spPr/>
      </p:pic>
    </p:spTree>
    <p:extLst>
      <p:ext uri="{BB962C8B-B14F-4D97-AF65-F5344CB8AC3E}">
        <p14:creationId xmlns:p14="http://schemas.microsoft.com/office/powerpoint/2010/main" val="25091418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CC1BEF-7B0A-1797-2A7C-6E4BA43112F3}"/>
              </a:ext>
            </a:extLst>
          </p:cNvPr>
          <p:cNvPicPr>
            <a:picLocks noChangeAspect="1"/>
          </p:cNvPicPr>
          <p:nvPr/>
        </p:nvPicPr>
        <p:blipFill rotWithShape="1">
          <a:blip r:embed="rId2">
            <a:extLst>
              <a:ext uri="{28A0092B-C50C-407E-A947-70E740481C1C}">
                <a14:useLocalDpi xmlns:a14="http://schemas.microsoft.com/office/drawing/2010/main" val="0"/>
              </a:ext>
            </a:extLst>
          </a:blip>
          <a:srcRect b="9198"/>
          <a:stretch/>
        </p:blipFill>
        <p:spPr>
          <a:xfrm>
            <a:off x="7215978" y="3701770"/>
            <a:ext cx="3674519" cy="2359505"/>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888307"/>
            <a:ext cx="8751061" cy="3849918"/>
          </a:xfrm>
        </p:spPr>
        <p:txBody>
          <a:bodyPr/>
          <a:lstStyle/>
          <a:p>
            <a:pPr marL="342900" indent="-342900">
              <a:buClr>
                <a:srgbClr val="DE0A1D"/>
              </a:buClr>
              <a:buFont typeface="Arial" panose="020B0604020202020204" pitchFamily="34" charset="0"/>
              <a:buChar char="•"/>
            </a:pPr>
            <a:r>
              <a:rPr lang="en-US" sz="1800" dirty="0"/>
              <a:t>Beginnen Sie mit Ihrer </a:t>
            </a:r>
            <a:r>
              <a:rPr lang="en-US" sz="1800" b="1" dirty="0"/>
              <a:t>persönlichen Geschichte</a:t>
            </a:r>
            <a:r>
              <a:rPr lang="en-US" sz="1800" dirty="0"/>
              <a:t>: Ihre Geschichte, wie Sie angefangen haben, die Entscheidungen, die Sie getroffen haben, waren andere Personen beteiligt?</a:t>
            </a:r>
          </a:p>
          <a:p>
            <a:pPr marL="342900" indent="-342900">
              <a:buClr>
                <a:srgbClr val="DE0A1D"/>
              </a:buClr>
              <a:buFont typeface="Arial" panose="020B0604020202020204" pitchFamily="34" charset="0"/>
              <a:buChar char="•"/>
            </a:pPr>
            <a:r>
              <a:rPr lang="en-US" sz="1800" dirty="0"/>
              <a:t>Ihre </a:t>
            </a:r>
            <a:r>
              <a:rPr lang="en-US" sz="1800" b="1" dirty="0"/>
              <a:t>Passionsgeschichte</a:t>
            </a:r>
            <a:r>
              <a:rPr lang="en-US" sz="1800" dirty="0"/>
              <a:t>: Was Sie lieben und warum Sie lieben, was Sie tun.</a:t>
            </a:r>
          </a:p>
          <a:p>
            <a:pPr marL="342900" indent="-342900">
              <a:buClr>
                <a:srgbClr val="DE0A1D"/>
              </a:buClr>
              <a:buFont typeface="Arial" panose="020B0604020202020204" pitchFamily="34" charset="0"/>
              <a:buChar char="•"/>
            </a:pPr>
            <a:r>
              <a:rPr lang="en-US" sz="1800" dirty="0"/>
              <a:t>Die </a:t>
            </a:r>
            <a:r>
              <a:rPr lang="en-US" sz="1800" b="1" dirty="0"/>
              <a:t>Persönlichkeitsgeschichte</a:t>
            </a:r>
            <a:r>
              <a:rPr lang="en-US" sz="1800" dirty="0"/>
              <a:t>: Wie die Menschen Ihre Marke, das Kundenerlebnis oder Ihren Arbeitsansatz erleben könnten.</a:t>
            </a:r>
          </a:p>
          <a:p>
            <a:pPr marL="342900" indent="-342900">
              <a:buClr>
                <a:srgbClr val="DE0A1D"/>
              </a:buClr>
              <a:buFont typeface="Arial" panose="020B0604020202020204" pitchFamily="34" charset="0"/>
              <a:buChar char="•"/>
            </a:pPr>
            <a:r>
              <a:rPr lang="en-US" sz="1800" dirty="0"/>
              <a:t>Die </a:t>
            </a:r>
            <a:r>
              <a:rPr lang="en-US" sz="1800" b="1" dirty="0"/>
              <a:t>Kundengeschichte</a:t>
            </a:r>
            <a:r>
              <a:rPr lang="en-US" sz="1800" dirty="0"/>
              <a:t>: Was sagen Ihre Kunden?</a:t>
            </a:r>
          </a:p>
          <a:p>
            <a:pPr marL="0" indent="0">
              <a:buClr>
                <a:srgbClr val="EC2179"/>
              </a:buClr>
            </a:pPr>
            <a:r>
              <a:rPr lang="en-US" sz="1800" dirty="0"/>
              <a:t>     über Sie?</a:t>
            </a:r>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160421" y="664464"/>
            <a:ext cx="1059135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Wie </a:t>
            </a:r>
            <a:r>
              <a:rPr lang="en-US" sz="2800" dirty="0" err="1">
                <a:solidFill>
                  <a:schemeClr val="bg1"/>
                </a:solidFill>
              </a:rPr>
              <a:t>erstellen</a:t>
            </a:r>
            <a:r>
              <a:rPr lang="en-US" sz="2800" dirty="0">
                <a:solidFill>
                  <a:schemeClr val="bg1"/>
                </a:solidFill>
              </a:rPr>
              <a:t> </a:t>
            </a:r>
            <a:r>
              <a:rPr lang="en-US" sz="2800" dirty="0" err="1">
                <a:solidFill>
                  <a:schemeClr val="bg1"/>
                </a:solidFill>
              </a:rPr>
              <a:t>oder</a:t>
            </a:r>
            <a:r>
              <a:rPr lang="en-US" sz="2800" dirty="0">
                <a:solidFill>
                  <a:schemeClr val="bg1"/>
                </a:solidFill>
              </a:rPr>
              <a:t> </a:t>
            </a:r>
            <a:r>
              <a:rPr lang="en-US" sz="2800" dirty="0" err="1">
                <a:solidFill>
                  <a:schemeClr val="bg1"/>
                </a:solidFill>
              </a:rPr>
              <a:t>erfassen</a:t>
            </a:r>
            <a:r>
              <a:rPr lang="en-US" sz="2800" dirty="0">
                <a:solidFill>
                  <a:schemeClr val="bg1"/>
                </a:solidFill>
              </a:rPr>
              <a:t> Sie </a:t>
            </a:r>
            <a:r>
              <a:rPr lang="en-US" sz="2800" dirty="0" err="1">
                <a:solidFill>
                  <a:schemeClr val="bg1"/>
                </a:solidFill>
              </a:rPr>
              <a:t>Ihre</a:t>
            </a:r>
            <a:r>
              <a:rPr lang="en-US" sz="2800" dirty="0">
                <a:solidFill>
                  <a:schemeClr val="bg1"/>
                </a:solidFill>
              </a:rPr>
              <a:t> </a:t>
            </a:r>
            <a:r>
              <a:rPr lang="en-US" sz="2800" dirty="0" err="1">
                <a:solidFill>
                  <a:schemeClr val="bg1"/>
                </a:solidFill>
              </a:rPr>
              <a:t>Markengeschichte</a:t>
            </a:r>
            <a:r>
              <a:rPr lang="en-US" sz="2800" dirty="0">
                <a:solidFill>
                  <a:schemeClr val="bg1"/>
                </a:solidFill>
              </a:rPr>
              <a:t>?</a:t>
            </a:r>
          </a:p>
          <a:p>
            <a:endParaRPr lang="en-US" sz="2800" dirty="0"/>
          </a:p>
        </p:txBody>
      </p:sp>
    </p:spTree>
    <p:extLst>
      <p:ext uri="{BB962C8B-B14F-4D97-AF65-F5344CB8AC3E}">
        <p14:creationId xmlns:p14="http://schemas.microsoft.com/office/powerpoint/2010/main" val="4174518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53273" y="809365"/>
            <a:ext cx="9192068" cy="3849918"/>
          </a:xfrm>
        </p:spPr>
        <p:txBody>
          <a:bodyPr/>
          <a:lstStyle/>
          <a:p>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553273" y="809365"/>
            <a:ext cx="9632553" cy="803654"/>
          </a:xfrm>
        </p:spPr>
        <p:txBody>
          <a:bodyPr/>
          <a:lstStyle/>
          <a:p>
            <a:r>
              <a:rPr lang="en-US" dirty="0">
                <a:solidFill>
                  <a:schemeClr val="bg1"/>
                </a:solidFill>
              </a:rPr>
              <a:t>Lernergebnisse </a:t>
            </a:r>
          </a:p>
          <a:p>
            <a:endParaRPr lang="en-US" dirty="0"/>
          </a:p>
          <a:p>
            <a:r>
              <a:rPr lang="en-US" sz="2400" b="1" dirty="0" err="1">
                <a:solidFill>
                  <a:srgbClr val="47B5C8"/>
                </a:solidFill>
              </a:rPr>
              <a:t>Einstellungen</a:t>
            </a:r>
            <a:r>
              <a:rPr lang="en-US" sz="2400" b="1" dirty="0">
                <a:solidFill>
                  <a:srgbClr val="47B5C8"/>
                </a:solidFill>
              </a:rPr>
              <a:t>:</a:t>
            </a:r>
          </a:p>
          <a:p>
            <a:pPr marL="571500" indent="-571500">
              <a:buFont typeface="Arial" panose="020B0604020202020204" pitchFamily="34" charset="0"/>
              <a:buChar char="•"/>
            </a:pPr>
            <a:r>
              <a:rPr lang="en-GB" sz="2400" dirty="0"/>
              <a:t>Förderung einer integrativen Haltung, die die Vielfalt auf dem Markt wertschätzt und sie als Stärke in Marketingkampagnen nutzt.</a:t>
            </a:r>
          </a:p>
          <a:p>
            <a:pPr marL="571500" indent="-571500">
              <a:buFont typeface="Arial" panose="020B0604020202020204" pitchFamily="34" charset="0"/>
              <a:buChar char="•"/>
            </a:pPr>
            <a:r>
              <a:rPr lang="en-GB" sz="2400" dirty="0"/>
              <a:t>Ein kundenorientierter Ansatz, der die Bedürfnisse und die Zufriedenheit der Kunden bei allen Marketing- und Verkaufsstrategien in den Vordergrund stellt.</a:t>
            </a:r>
          </a:p>
          <a:p>
            <a:pPr marL="571500" indent="-571500">
              <a:buFont typeface="Arial" panose="020B0604020202020204" pitchFamily="34" charset="0"/>
              <a:buChar char="•"/>
            </a:pPr>
            <a:r>
              <a:rPr lang="en-GB" sz="2400" dirty="0"/>
              <a:t>Kultivieren Sie eine Wachstumsmentalität, die Herausforderungen als Chancen für Innovation und Unternehmenswachstum sieht.</a:t>
            </a:r>
            <a:endParaRPr lang="en-US" sz="2400" dirty="0"/>
          </a:p>
        </p:txBody>
      </p:sp>
    </p:spTree>
    <p:extLst>
      <p:ext uri="{BB962C8B-B14F-4D97-AF65-F5344CB8AC3E}">
        <p14:creationId xmlns:p14="http://schemas.microsoft.com/office/powerpoint/2010/main" val="36932441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795688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Wie </a:t>
            </a:r>
            <a:r>
              <a:rPr lang="en-US" sz="3200" dirty="0" err="1">
                <a:solidFill>
                  <a:schemeClr val="bg1"/>
                </a:solidFill>
              </a:rPr>
              <a:t>wählt</a:t>
            </a:r>
            <a:r>
              <a:rPr lang="en-US" sz="3200" dirty="0">
                <a:solidFill>
                  <a:schemeClr val="bg1"/>
                </a:solidFill>
              </a:rPr>
              <a:t> man </a:t>
            </a:r>
            <a:r>
              <a:rPr lang="en-US" sz="3200" dirty="0" err="1">
                <a:solidFill>
                  <a:schemeClr val="bg1"/>
                </a:solidFill>
              </a:rPr>
              <a:t>einen</a:t>
            </a:r>
            <a:r>
              <a:rPr lang="en-US" sz="3200" dirty="0">
                <a:solidFill>
                  <a:schemeClr val="bg1"/>
                </a:solidFill>
              </a:rPr>
              <a:t> </a:t>
            </a:r>
            <a:r>
              <a:rPr lang="en-US" sz="3200" dirty="0" err="1">
                <a:solidFill>
                  <a:schemeClr val="bg1"/>
                </a:solidFill>
              </a:rPr>
              <a:t>Markennamen</a:t>
            </a:r>
            <a:r>
              <a:rPr lang="en-US" sz="3200" dirty="0">
                <a:solidFill>
                  <a:schemeClr val="bg1"/>
                </a:solidFill>
              </a:rPr>
              <a:t>?</a:t>
            </a:r>
          </a:p>
          <a:p>
            <a:endParaRPr lang="en-US" sz="3200" dirty="0"/>
          </a:p>
        </p:txBody>
      </p:sp>
      <p:sp>
        <p:nvSpPr>
          <p:cNvPr id="6" name="Text Placeholder 6">
            <a:extLst>
              <a:ext uri="{FF2B5EF4-FFF2-40B4-BE49-F238E27FC236}">
                <a16:creationId xmlns:a16="http://schemas.microsoft.com/office/drawing/2014/main" id="{B268C8BA-5EB7-82A2-B0CD-95B22E461345}"/>
              </a:ext>
            </a:extLst>
          </p:cNvPr>
          <p:cNvSpPr>
            <a:spLocks noGrp="1"/>
          </p:cNvSpPr>
          <p:nvPr>
            <p:ph type="body" sz="quarter" idx="18"/>
          </p:nvPr>
        </p:nvSpPr>
        <p:spPr>
          <a:xfrm>
            <a:off x="990585" y="1503362"/>
            <a:ext cx="9632950" cy="3851275"/>
          </a:xfrm>
        </p:spPr>
        <p:txBody>
          <a:bodyPr/>
          <a:lstStyle/>
          <a:p>
            <a:pPr marL="0" indent="0"/>
            <a:r>
              <a:rPr lang="en-US" sz="2000" dirty="0"/>
              <a:t>Die Namensgebung für Ihr Unternehmen ist ein dreigliedriger Ansatz. Sie müssen einen guten Namen, einen kreativen Slogan und einen entsprechenden Domänennamen für Ihre Website finden.</a:t>
            </a:r>
          </a:p>
        </p:txBody>
      </p:sp>
      <p:sp>
        <p:nvSpPr>
          <p:cNvPr id="7" name="Text Placeholder 6">
            <a:extLst>
              <a:ext uri="{FF2B5EF4-FFF2-40B4-BE49-F238E27FC236}">
                <a16:creationId xmlns:a16="http://schemas.microsoft.com/office/drawing/2014/main" id="{6DA2598C-AA52-BEBF-2746-E4C3059219AA}"/>
              </a:ext>
            </a:extLst>
          </p:cNvPr>
          <p:cNvSpPr txBox="1">
            <a:spLocks/>
          </p:cNvSpPr>
          <p:nvPr/>
        </p:nvSpPr>
        <p:spPr>
          <a:xfrm>
            <a:off x="6096000" y="2841752"/>
            <a:ext cx="4682423" cy="401624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en-US" sz="2000" dirty="0">
                <a:solidFill>
                  <a:srgbClr val="595959"/>
                </a:solidFill>
              </a:rPr>
              <a:t>Shopify hat </a:t>
            </a:r>
            <a:r>
              <a:rPr lang="en-US" sz="2000" dirty="0" err="1">
                <a:solidFill>
                  <a:srgbClr val="595959"/>
                </a:solidFill>
              </a:rPr>
              <a:t>einen</a:t>
            </a:r>
            <a:r>
              <a:rPr lang="en-US" sz="2000" dirty="0">
                <a:solidFill>
                  <a:srgbClr val="595959"/>
                </a:solidFill>
              </a:rPr>
              <a:t> </a:t>
            </a:r>
            <a:r>
              <a:rPr lang="en-US" sz="2000" dirty="0" err="1">
                <a:solidFill>
                  <a:srgbClr val="595959"/>
                </a:solidFill>
              </a:rPr>
              <a:t>automatischen</a:t>
            </a:r>
            <a:r>
              <a:rPr lang="en-US" sz="2000" dirty="0">
                <a:solidFill>
                  <a:srgbClr val="595959"/>
                </a:solidFill>
              </a:rPr>
              <a:t> Business Name Generator! Viele </a:t>
            </a:r>
            <a:r>
              <a:rPr lang="en-US" sz="2000" dirty="0" err="1">
                <a:solidFill>
                  <a:srgbClr val="595959"/>
                </a:solidFill>
              </a:rPr>
              <a:t>andere</a:t>
            </a:r>
            <a:r>
              <a:rPr lang="en-US" sz="2000" dirty="0">
                <a:solidFill>
                  <a:srgbClr val="595959"/>
                </a:solidFill>
              </a:rPr>
              <a:t> </a:t>
            </a:r>
            <a:r>
              <a:rPr lang="en-US" sz="2000" dirty="0" err="1">
                <a:solidFill>
                  <a:srgbClr val="595959"/>
                </a:solidFill>
              </a:rPr>
              <a:t>verkaufen</a:t>
            </a:r>
            <a:r>
              <a:rPr lang="en-US" sz="2000" dirty="0">
                <a:solidFill>
                  <a:srgbClr val="595959"/>
                </a:solidFill>
              </a:rPr>
              <a:t> Namen und Domains - </a:t>
            </a:r>
            <a:r>
              <a:rPr lang="en-US" sz="2000" dirty="0" err="1">
                <a:solidFill>
                  <a:srgbClr val="595959"/>
                </a:solidFill>
              </a:rPr>
              <a:t>gegen</a:t>
            </a:r>
            <a:r>
              <a:rPr lang="en-US" sz="2000" dirty="0">
                <a:solidFill>
                  <a:srgbClr val="595959"/>
                </a:solidFill>
              </a:rPr>
              <a:t> </a:t>
            </a:r>
            <a:r>
              <a:rPr lang="en-US" sz="2000" dirty="0" err="1">
                <a:solidFill>
                  <a:srgbClr val="595959"/>
                </a:solidFill>
              </a:rPr>
              <a:t>Bezahlung</a:t>
            </a:r>
            <a:r>
              <a:rPr lang="en-US" sz="2000" dirty="0">
                <a:solidFill>
                  <a:srgbClr val="595959"/>
                </a:solidFill>
              </a:rPr>
              <a:t>!</a:t>
            </a:r>
          </a:p>
          <a:p>
            <a:pPr algn="r"/>
            <a:endParaRPr lang="en-US" sz="900" dirty="0">
              <a:solidFill>
                <a:srgbClr val="595959"/>
              </a:solidFill>
            </a:endParaRPr>
          </a:p>
          <a:p>
            <a:pPr algn="r"/>
            <a:r>
              <a:rPr lang="en-US" sz="2000" dirty="0" err="1">
                <a:solidFill>
                  <a:srgbClr val="595959"/>
                </a:solidFill>
              </a:rPr>
              <a:t>Sehen</a:t>
            </a:r>
            <a:r>
              <a:rPr lang="en-US" sz="2000" dirty="0">
                <a:solidFill>
                  <a:srgbClr val="595959"/>
                </a:solidFill>
              </a:rPr>
              <a:t> </a:t>
            </a:r>
            <a:r>
              <a:rPr lang="en-US" sz="2000" dirty="0" err="1">
                <a:solidFill>
                  <a:srgbClr val="595959"/>
                </a:solidFill>
              </a:rPr>
              <a:t>wir</a:t>
            </a:r>
            <a:r>
              <a:rPr lang="en-US" sz="2000" dirty="0">
                <a:solidFill>
                  <a:srgbClr val="595959"/>
                </a:solidFill>
              </a:rPr>
              <a:t> </a:t>
            </a:r>
            <a:r>
              <a:rPr lang="en-US" sz="2000" dirty="0" err="1">
                <a:solidFill>
                  <a:srgbClr val="595959"/>
                </a:solidFill>
              </a:rPr>
              <a:t>uns</a:t>
            </a:r>
            <a:r>
              <a:rPr lang="en-US" sz="2000" dirty="0">
                <a:solidFill>
                  <a:srgbClr val="595959"/>
                </a:solidFill>
              </a:rPr>
              <a:t> </a:t>
            </a:r>
            <a:r>
              <a:rPr lang="en-US" sz="2000" dirty="0" err="1">
                <a:solidFill>
                  <a:srgbClr val="595959"/>
                </a:solidFill>
              </a:rPr>
              <a:t>einige</a:t>
            </a:r>
            <a:r>
              <a:rPr lang="en-US" sz="2000" dirty="0">
                <a:solidFill>
                  <a:srgbClr val="595959"/>
                </a:solidFill>
              </a:rPr>
              <a:t> </a:t>
            </a:r>
            <a:r>
              <a:rPr lang="en-US" sz="2000" dirty="0" err="1">
                <a:solidFill>
                  <a:srgbClr val="595959"/>
                </a:solidFill>
              </a:rPr>
              <a:t>Ansätze</a:t>
            </a:r>
            <a:r>
              <a:rPr lang="en-US" sz="2000" dirty="0">
                <a:solidFill>
                  <a:srgbClr val="595959"/>
                </a:solidFill>
              </a:rPr>
              <a:t> an, die Sie in </a:t>
            </a:r>
            <a:r>
              <a:rPr lang="en-US" sz="2000" dirty="0" err="1">
                <a:solidFill>
                  <a:srgbClr val="595959"/>
                </a:solidFill>
              </a:rPr>
              <a:t>Betracht</a:t>
            </a:r>
            <a:r>
              <a:rPr lang="en-US" sz="2000" dirty="0">
                <a:solidFill>
                  <a:srgbClr val="595959"/>
                </a:solidFill>
              </a:rPr>
              <a:t> </a:t>
            </a:r>
            <a:r>
              <a:rPr lang="en-US" sz="2000" dirty="0" err="1">
                <a:solidFill>
                  <a:srgbClr val="595959"/>
                </a:solidFill>
              </a:rPr>
              <a:t>ziehen</a:t>
            </a:r>
            <a:r>
              <a:rPr lang="en-US" sz="2000" dirty="0">
                <a:solidFill>
                  <a:srgbClr val="595959"/>
                </a:solidFill>
              </a:rPr>
              <a:t> </a:t>
            </a:r>
            <a:r>
              <a:rPr lang="en-US" sz="2000" dirty="0" err="1">
                <a:solidFill>
                  <a:srgbClr val="595959"/>
                </a:solidFill>
              </a:rPr>
              <a:t>können</a:t>
            </a:r>
            <a:r>
              <a:rPr lang="is-IS" sz="2000" dirty="0">
                <a:solidFill>
                  <a:srgbClr val="595959"/>
                </a:solidFill>
              </a:rPr>
              <a:t>...</a:t>
            </a:r>
            <a:endParaRPr lang="en-US" sz="2000" dirty="0">
              <a:solidFill>
                <a:srgbClr val="595959"/>
              </a:solidFill>
            </a:endParaRPr>
          </a:p>
          <a:p>
            <a:endParaRPr lang="en-US" sz="2000" dirty="0"/>
          </a:p>
        </p:txBody>
      </p:sp>
      <p:pic>
        <p:nvPicPr>
          <p:cNvPr id="8" name="Picture 7">
            <a:extLst>
              <a:ext uri="{FF2B5EF4-FFF2-40B4-BE49-F238E27FC236}">
                <a16:creationId xmlns:a16="http://schemas.microsoft.com/office/drawing/2014/main" id="{526057F8-E554-B70A-F29E-DD09EE6C7FB2}"/>
              </a:ext>
            </a:extLst>
          </p:cNvPr>
          <p:cNvPicPr>
            <a:picLocks noChangeAspect="1"/>
          </p:cNvPicPr>
          <p:nvPr/>
        </p:nvPicPr>
        <p:blipFill rotWithShape="1">
          <a:blip r:embed="rId2">
            <a:extLst>
              <a:ext uri="{28A0092B-C50C-407E-A947-70E740481C1C}">
                <a14:useLocalDpi xmlns:a14="http://schemas.microsoft.com/office/drawing/2010/main" val="0"/>
              </a:ext>
            </a:extLst>
          </a:blip>
          <a:srcRect l="-3424" t="-1173" r="30537" b="12394"/>
          <a:stretch/>
        </p:blipFill>
        <p:spPr>
          <a:xfrm flipH="1">
            <a:off x="0" y="2417693"/>
            <a:ext cx="5971083" cy="4481824"/>
          </a:xfrm>
          <a:prstGeom prst="rect">
            <a:avLst/>
          </a:prstGeom>
        </p:spPr>
      </p:pic>
      <p:sp>
        <p:nvSpPr>
          <p:cNvPr id="9" name="Picture Placeholder 5">
            <a:hlinkClick r:id="rId3"/>
            <a:extLst>
              <a:ext uri="{FF2B5EF4-FFF2-40B4-BE49-F238E27FC236}">
                <a16:creationId xmlns:a16="http://schemas.microsoft.com/office/drawing/2014/main" id="{7EF46B4E-478E-D6FB-FA67-B3C27F8571C0}"/>
              </a:ext>
            </a:extLst>
          </p:cNvPr>
          <p:cNvSpPr txBox="1">
            <a:spLocks/>
          </p:cNvSpPr>
          <p:nvPr/>
        </p:nvSpPr>
        <p:spPr>
          <a:xfrm>
            <a:off x="1593733" y="3220286"/>
            <a:ext cx="3338463" cy="2141168"/>
          </a:xfrm>
          <a:prstGeom prst="rect">
            <a:avLst/>
          </a:prstGeom>
          <a:blipFill>
            <a:blip r:embed="rId4"/>
            <a:srcRect/>
            <a:stretch>
              <a:fillRect l="-5556" t="103" r="-8608" b="103"/>
            </a:stretch>
          </a:blip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kern="1200" baseline="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a:p>
        </p:txBody>
      </p:sp>
      <p:sp>
        <p:nvSpPr>
          <p:cNvPr id="10" name="Oval 9">
            <a:hlinkClick r:id="rId5"/>
            <a:extLst>
              <a:ext uri="{FF2B5EF4-FFF2-40B4-BE49-F238E27FC236}">
                <a16:creationId xmlns:a16="http://schemas.microsoft.com/office/drawing/2014/main" id="{10BFC5DC-52B5-0517-A89E-464C0362D6D8}"/>
              </a:ext>
            </a:extLst>
          </p:cNvPr>
          <p:cNvSpPr/>
          <p:nvPr/>
        </p:nvSpPr>
        <p:spPr>
          <a:xfrm>
            <a:off x="4869984" y="4692269"/>
            <a:ext cx="1685925" cy="1685925"/>
          </a:xfrm>
          <a:prstGeom prst="ellipse">
            <a:avLst/>
          </a:prstGeom>
          <a:solidFill>
            <a:srgbClr val="DE0A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a:solidFill>
                  <a:schemeClr val="bg1"/>
                </a:solidFill>
              </a:rPr>
              <a:t>ZUM ANSEHEN KLICKEN</a:t>
            </a:r>
          </a:p>
        </p:txBody>
      </p:sp>
      <p:grpSp>
        <p:nvGrpSpPr>
          <p:cNvPr id="11" name="Google Shape;612;p39">
            <a:extLst>
              <a:ext uri="{FF2B5EF4-FFF2-40B4-BE49-F238E27FC236}">
                <a16:creationId xmlns:a16="http://schemas.microsoft.com/office/drawing/2014/main" id="{CCC99ED2-7052-2DFD-8784-7834CFA6E97B}"/>
              </a:ext>
            </a:extLst>
          </p:cNvPr>
          <p:cNvGrpSpPr/>
          <p:nvPr/>
        </p:nvGrpSpPr>
        <p:grpSpPr>
          <a:xfrm>
            <a:off x="5487413" y="5682990"/>
            <a:ext cx="453026" cy="462520"/>
            <a:chOff x="3951850" y="2985350"/>
            <a:chExt cx="407950" cy="416500"/>
          </a:xfrm>
        </p:grpSpPr>
        <p:sp>
          <p:nvSpPr>
            <p:cNvPr id="12" name="Google Shape;613;p39">
              <a:extLst>
                <a:ext uri="{FF2B5EF4-FFF2-40B4-BE49-F238E27FC236}">
                  <a16:creationId xmlns:a16="http://schemas.microsoft.com/office/drawing/2014/main" id="{E1DA1117-C576-3547-3F0E-E6C3DBF0C991}"/>
                </a:ext>
              </a:extLst>
            </p:cNvPr>
            <p:cNvSpPr/>
            <p:nvPr/>
          </p:nvSpPr>
          <p:spPr>
            <a:xfrm>
              <a:off x="3951850" y="2985350"/>
              <a:ext cx="314800" cy="314825"/>
            </a:xfrm>
            <a:custGeom>
              <a:avLst/>
              <a:gdLst/>
              <a:ahLst/>
              <a:cxnLst/>
              <a:rect l="l" t="t" r="r" b="b"/>
              <a:pathLst>
                <a:path w="12592" h="12593" fill="none" extrusionOk="0">
                  <a:moveTo>
                    <a:pt x="6284" y="1"/>
                  </a:moveTo>
                  <a:lnTo>
                    <a:pt x="6284" y="1"/>
                  </a:lnTo>
                  <a:lnTo>
                    <a:pt x="5967" y="25"/>
                  </a:lnTo>
                  <a:lnTo>
                    <a:pt x="5651" y="49"/>
                  </a:lnTo>
                  <a:lnTo>
                    <a:pt x="5334" y="74"/>
                  </a:lnTo>
                  <a:lnTo>
                    <a:pt x="5017" y="147"/>
                  </a:lnTo>
                  <a:lnTo>
                    <a:pt x="4725" y="220"/>
                  </a:lnTo>
                  <a:lnTo>
                    <a:pt x="4433" y="293"/>
                  </a:lnTo>
                  <a:lnTo>
                    <a:pt x="4141" y="390"/>
                  </a:lnTo>
                  <a:lnTo>
                    <a:pt x="3848" y="512"/>
                  </a:lnTo>
                  <a:lnTo>
                    <a:pt x="3556" y="634"/>
                  </a:lnTo>
                  <a:lnTo>
                    <a:pt x="3288" y="780"/>
                  </a:lnTo>
                  <a:lnTo>
                    <a:pt x="3020" y="926"/>
                  </a:lnTo>
                  <a:lnTo>
                    <a:pt x="2777" y="1072"/>
                  </a:lnTo>
                  <a:lnTo>
                    <a:pt x="2290" y="1437"/>
                  </a:lnTo>
                  <a:lnTo>
                    <a:pt x="1851" y="1852"/>
                  </a:lnTo>
                  <a:lnTo>
                    <a:pt x="1437" y="2290"/>
                  </a:lnTo>
                  <a:lnTo>
                    <a:pt x="1072" y="2777"/>
                  </a:lnTo>
                  <a:lnTo>
                    <a:pt x="901" y="3045"/>
                  </a:lnTo>
                  <a:lnTo>
                    <a:pt x="755" y="3313"/>
                  </a:lnTo>
                  <a:lnTo>
                    <a:pt x="609" y="3581"/>
                  </a:lnTo>
                  <a:lnTo>
                    <a:pt x="487" y="3849"/>
                  </a:lnTo>
                  <a:lnTo>
                    <a:pt x="390" y="4141"/>
                  </a:lnTo>
                  <a:lnTo>
                    <a:pt x="292" y="4433"/>
                  </a:lnTo>
                  <a:lnTo>
                    <a:pt x="195" y="4725"/>
                  </a:lnTo>
                  <a:lnTo>
                    <a:pt x="122" y="5042"/>
                  </a:lnTo>
                  <a:lnTo>
                    <a:pt x="73" y="5334"/>
                  </a:lnTo>
                  <a:lnTo>
                    <a:pt x="25" y="5651"/>
                  </a:lnTo>
                  <a:lnTo>
                    <a:pt x="0" y="5968"/>
                  </a:lnTo>
                  <a:lnTo>
                    <a:pt x="0" y="6308"/>
                  </a:lnTo>
                  <a:lnTo>
                    <a:pt x="0" y="6308"/>
                  </a:lnTo>
                  <a:lnTo>
                    <a:pt x="0" y="6625"/>
                  </a:lnTo>
                  <a:lnTo>
                    <a:pt x="25" y="6942"/>
                  </a:lnTo>
                  <a:lnTo>
                    <a:pt x="73" y="7258"/>
                  </a:lnTo>
                  <a:lnTo>
                    <a:pt x="122" y="7575"/>
                  </a:lnTo>
                  <a:lnTo>
                    <a:pt x="195" y="7867"/>
                  </a:lnTo>
                  <a:lnTo>
                    <a:pt x="292" y="8184"/>
                  </a:lnTo>
                  <a:lnTo>
                    <a:pt x="390" y="8476"/>
                  </a:lnTo>
                  <a:lnTo>
                    <a:pt x="487" y="8744"/>
                  </a:lnTo>
                  <a:lnTo>
                    <a:pt x="609" y="9036"/>
                  </a:lnTo>
                  <a:lnTo>
                    <a:pt x="755" y="9304"/>
                  </a:lnTo>
                  <a:lnTo>
                    <a:pt x="901" y="9572"/>
                  </a:lnTo>
                  <a:lnTo>
                    <a:pt x="1072" y="9816"/>
                  </a:lnTo>
                  <a:lnTo>
                    <a:pt x="1437" y="10303"/>
                  </a:lnTo>
                  <a:lnTo>
                    <a:pt x="1851" y="10741"/>
                  </a:lnTo>
                  <a:lnTo>
                    <a:pt x="2290" y="11155"/>
                  </a:lnTo>
                  <a:lnTo>
                    <a:pt x="2777" y="11520"/>
                  </a:lnTo>
                  <a:lnTo>
                    <a:pt x="3020" y="11691"/>
                  </a:lnTo>
                  <a:lnTo>
                    <a:pt x="3288" y="11837"/>
                  </a:lnTo>
                  <a:lnTo>
                    <a:pt x="3556" y="11983"/>
                  </a:lnTo>
                  <a:lnTo>
                    <a:pt x="3848" y="12105"/>
                  </a:lnTo>
                  <a:lnTo>
                    <a:pt x="4141" y="12202"/>
                  </a:lnTo>
                  <a:lnTo>
                    <a:pt x="4433" y="12300"/>
                  </a:lnTo>
                  <a:lnTo>
                    <a:pt x="4725" y="12397"/>
                  </a:lnTo>
                  <a:lnTo>
                    <a:pt x="5017" y="12470"/>
                  </a:lnTo>
                  <a:lnTo>
                    <a:pt x="5334" y="12519"/>
                  </a:lnTo>
                  <a:lnTo>
                    <a:pt x="5651" y="12568"/>
                  </a:lnTo>
                  <a:lnTo>
                    <a:pt x="5967" y="12592"/>
                  </a:lnTo>
                  <a:lnTo>
                    <a:pt x="6284" y="12592"/>
                  </a:lnTo>
                  <a:lnTo>
                    <a:pt x="6284" y="12592"/>
                  </a:lnTo>
                  <a:lnTo>
                    <a:pt x="6625" y="12592"/>
                  </a:lnTo>
                  <a:lnTo>
                    <a:pt x="6941" y="12568"/>
                  </a:lnTo>
                  <a:lnTo>
                    <a:pt x="7258" y="12519"/>
                  </a:lnTo>
                  <a:lnTo>
                    <a:pt x="7550" y="12470"/>
                  </a:lnTo>
                  <a:lnTo>
                    <a:pt x="7867" y="12397"/>
                  </a:lnTo>
                  <a:lnTo>
                    <a:pt x="8159" y="12300"/>
                  </a:lnTo>
                  <a:lnTo>
                    <a:pt x="8451" y="12202"/>
                  </a:lnTo>
                  <a:lnTo>
                    <a:pt x="8744" y="12105"/>
                  </a:lnTo>
                  <a:lnTo>
                    <a:pt x="9012" y="11983"/>
                  </a:lnTo>
                  <a:lnTo>
                    <a:pt x="9279" y="11837"/>
                  </a:lnTo>
                  <a:lnTo>
                    <a:pt x="9547" y="11691"/>
                  </a:lnTo>
                  <a:lnTo>
                    <a:pt x="9815" y="11520"/>
                  </a:lnTo>
                  <a:lnTo>
                    <a:pt x="10302" y="11155"/>
                  </a:lnTo>
                  <a:lnTo>
                    <a:pt x="10741" y="10741"/>
                  </a:lnTo>
                  <a:lnTo>
                    <a:pt x="11155" y="10303"/>
                  </a:lnTo>
                  <a:lnTo>
                    <a:pt x="11520" y="9816"/>
                  </a:lnTo>
                  <a:lnTo>
                    <a:pt x="11666" y="9572"/>
                  </a:lnTo>
                  <a:lnTo>
                    <a:pt x="11812" y="9304"/>
                  </a:lnTo>
                  <a:lnTo>
                    <a:pt x="11958" y="9036"/>
                  </a:lnTo>
                  <a:lnTo>
                    <a:pt x="12080" y="8744"/>
                  </a:lnTo>
                  <a:lnTo>
                    <a:pt x="12202" y="8476"/>
                  </a:lnTo>
                  <a:lnTo>
                    <a:pt x="12299" y="8184"/>
                  </a:lnTo>
                  <a:lnTo>
                    <a:pt x="12397" y="7867"/>
                  </a:lnTo>
                  <a:lnTo>
                    <a:pt x="12446" y="7575"/>
                  </a:lnTo>
                  <a:lnTo>
                    <a:pt x="12519" y="7258"/>
                  </a:lnTo>
                  <a:lnTo>
                    <a:pt x="12543" y="6942"/>
                  </a:lnTo>
                  <a:lnTo>
                    <a:pt x="12567" y="6625"/>
                  </a:lnTo>
                  <a:lnTo>
                    <a:pt x="12592" y="6308"/>
                  </a:lnTo>
                  <a:lnTo>
                    <a:pt x="12592" y="6308"/>
                  </a:lnTo>
                  <a:lnTo>
                    <a:pt x="12567" y="5968"/>
                  </a:lnTo>
                  <a:lnTo>
                    <a:pt x="12543" y="5651"/>
                  </a:lnTo>
                  <a:lnTo>
                    <a:pt x="12519" y="5334"/>
                  </a:lnTo>
                  <a:lnTo>
                    <a:pt x="12446" y="5042"/>
                  </a:lnTo>
                  <a:lnTo>
                    <a:pt x="12397" y="4725"/>
                  </a:lnTo>
                  <a:lnTo>
                    <a:pt x="12299" y="4433"/>
                  </a:lnTo>
                  <a:lnTo>
                    <a:pt x="12202" y="4141"/>
                  </a:lnTo>
                  <a:lnTo>
                    <a:pt x="12080" y="3849"/>
                  </a:lnTo>
                  <a:lnTo>
                    <a:pt x="11958" y="3581"/>
                  </a:lnTo>
                  <a:lnTo>
                    <a:pt x="11812" y="3313"/>
                  </a:lnTo>
                  <a:lnTo>
                    <a:pt x="11666" y="3045"/>
                  </a:lnTo>
                  <a:lnTo>
                    <a:pt x="11520" y="2777"/>
                  </a:lnTo>
                  <a:lnTo>
                    <a:pt x="11155" y="2290"/>
                  </a:lnTo>
                  <a:lnTo>
                    <a:pt x="10741" y="1852"/>
                  </a:lnTo>
                  <a:lnTo>
                    <a:pt x="10302" y="1437"/>
                  </a:lnTo>
                  <a:lnTo>
                    <a:pt x="9815" y="1072"/>
                  </a:lnTo>
                  <a:lnTo>
                    <a:pt x="9547" y="926"/>
                  </a:lnTo>
                  <a:lnTo>
                    <a:pt x="9279" y="780"/>
                  </a:lnTo>
                  <a:lnTo>
                    <a:pt x="9012" y="634"/>
                  </a:lnTo>
                  <a:lnTo>
                    <a:pt x="8744" y="512"/>
                  </a:lnTo>
                  <a:lnTo>
                    <a:pt x="8451" y="390"/>
                  </a:lnTo>
                  <a:lnTo>
                    <a:pt x="8159" y="293"/>
                  </a:lnTo>
                  <a:lnTo>
                    <a:pt x="7867" y="220"/>
                  </a:lnTo>
                  <a:lnTo>
                    <a:pt x="7550" y="147"/>
                  </a:lnTo>
                  <a:lnTo>
                    <a:pt x="7258" y="74"/>
                  </a:lnTo>
                  <a:lnTo>
                    <a:pt x="6941" y="49"/>
                  </a:lnTo>
                  <a:lnTo>
                    <a:pt x="6625" y="25"/>
                  </a:lnTo>
                  <a:lnTo>
                    <a:pt x="6284" y="1"/>
                  </a:lnTo>
                  <a:lnTo>
                    <a:pt x="6284" y="1"/>
                  </a:lnTo>
                  <a:close/>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14;p39">
              <a:extLst>
                <a:ext uri="{FF2B5EF4-FFF2-40B4-BE49-F238E27FC236}">
                  <a16:creationId xmlns:a16="http://schemas.microsoft.com/office/drawing/2014/main" id="{CD2BCF35-CF0F-C368-C4A3-D63908901715}"/>
                </a:ext>
              </a:extLst>
            </p:cNvPr>
            <p:cNvSpPr/>
            <p:nvPr/>
          </p:nvSpPr>
          <p:spPr>
            <a:xfrm>
              <a:off x="3988375" y="3021875"/>
              <a:ext cx="241750" cy="241750"/>
            </a:xfrm>
            <a:custGeom>
              <a:avLst/>
              <a:gdLst/>
              <a:ahLst/>
              <a:cxnLst/>
              <a:rect l="l" t="t" r="r" b="b"/>
              <a:pathLst>
                <a:path w="9670" h="9670" fill="none" extrusionOk="0">
                  <a:moveTo>
                    <a:pt x="4823" y="1"/>
                  </a:moveTo>
                  <a:lnTo>
                    <a:pt x="4823" y="1"/>
                  </a:lnTo>
                  <a:lnTo>
                    <a:pt x="4336" y="25"/>
                  </a:lnTo>
                  <a:lnTo>
                    <a:pt x="3849" y="98"/>
                  </a:lnTo>
                  <a:lnTo>
                    <a:pt x="3386" y="220"/>
                  </a:lnTo>
                  <a:lnTo>
                    <a:pt x="2947" y="391"/>
                  </a:lnTo>
                  <a:lnTo>
                    <a:pt x="2533" y="585"/>
                  </a:lnTo>
                  <a:lnTo>
                    <a:pt x="2144" y="829"/>
                  </a:lnTo>
                  <a:lnTo>
                    <a:pt x="1754" y="1121"/>
                  </a:lnTo>
                  <a:lnTo>
                    <a:pt x="1413" y="1438"/>
                  </a:lnTo>
                  <a:lnTo>
                    <a:pt x="1096" y="1779"/>
                  </a:lnTo>
                  <a:lnTo>
                    <a:pt x="829" y="2144"/>
                  </a:lnTo>
                  <a:lnTo>
                    <a:pt x="585" y="2534"/>
                  </a:lnTo>
                  <a:lnTo>
                    <a:pt x="390" y="2972"/>
                  </a:lnTo>
                  <a:lnTo>
                    <a:pt x="220" y="3411"/>
                  </a:lnTo>
                  <a:lnTo>
                    <a:pt x="98" y="3873"/>
                  </a:lnTo>
                  <a:lnTo>
                    <a:pt x="25" y="4336"/>
                  </a:lnTo>
                  <a:lnTo>
                    <a:pt x="1" y="4847"/>
                  </a:lnTo>
                  <a:lnTo>
                    <a:pt x="1" y="4847"/>
                  </a:lnTo>
                  <a:lnTo>
                    <a:pt x="25" y="5335"/>
                  </a:lnTo>
                  <a:lnTo>
                    <a:pt x="98" y="5822"/>
                  </a:lnTo>
                  <a:lnTo>
                    <a:pt x="220" y="6284"/>
                  </a:lnTo>
                  <a:lnTo>
                    <a:pt x="390" y="6723"/>
                  </a:lnTo>
                  <a:lnTo>
                    <a:pt x="585" y="7137"/>
                  </a:lnTo>
                  <a:lnTo>
                    <a:pt x="829" y="7527"/>
                  </a:lnTo>
                  <a:lnTo>
                    <a:pt x="1096" y="7916"/>
                  </a:lnTo>
                  <a:lnTo>
                    <a:pt x="1413" y="8257"/>
                  </a:lnTo>
                  <a:lnTo>
                    <a:pt x="1754" y="8574"/>
                  </a:lnTo>
                  <a:lnTo>
                    <a:pt x="2144" y="8842"/>
                  </a:lnTo>
                  <a:lnTo>
                    <a:pt x="2533" y="9085"/>
                  </a:lnTo>
                  <a:lnTo>
                    <a:pt x="2947" y="9280"/>
                  </a:lnTo>
                  <a:lnTo>
                    <a:pt x="3386" y="9451"/>
                  </a:lnTo>
                  <a:lnTo>
                    <a:pt x="3849" y="9572"/>
                  </a:lnTo>
                  <a:lnTo>
                    <a:pt x="4336" y="9645"/>
                  </a:lnTo>
                  <a:lnTo>
                    <a:pt x="4823" y="9670"/>
                  </a:lnTo>
                  <a:lnTo>
                    <a:pt x="4823" y="9670"/>
                  </a:lnTo>
                  <a:lnTo>
                    <a:pt x="5334" y="9645"/>
                  </a:lnTo>
                  <a:lnTo>
                    <a:pt x="5797" y="9572"/>
                  </a:lnTo>
                  <a:lnTo>
                    <a:pt x="6260" y="9451"/>
                  </a:lnTo>
                  <a:lnTo>
                    <a:pt x="6698" y="9280"/>
                  </a:lnTo>
                  <a:lnTo>
                    <a:pt x="7136" y="9085"/>
                  </a:lnTo>
                  <a:lnTo>
                    <a:pt x="7526" y="8842"/>
                  </a:lnTo>
                  <a:lnTo>
                    <a:pt x="7892" y="8574"/>
                  </a:lnTo>
                  <a:lnTo>
                    <a:pt x="8232" y="8257"/>
                  </a:lnTo>
                  <a:lnTo>
                    <a:pt x="8549" y="7916"/>
                  </a:lnTo>
                  <a:lnTo>
                    <a:pt x="8841" y="7527"/>
                  </a:lnTo>
                  <a:lnTo>
                    <a:pt x="9085" y="7137"/>
                  </a:lnTo>
                  <a:lnTo>
                    <a:pt x="9280" y="6723"/>
                  </a:lnTo>
                  <a:lnTo>
                    <a:pt x="9450" y="6284"/>
                  </a:lnTo>
                  <a:lnTo>
                    <a:pt x="9572" y="5822"/>
                  </a:lnTo>
                  <a:lnTo>
                    <a:pt x="9645" y="5335"/>
                  </a:lnTo>
                  <a:lnTo>
                    <a:pt x="9669" y="4847"/>
                  </a:lnTo>
                  <a:lnTo>
                    <a:pt x="9669" y="4847"/>
                  </a:lnTo>
                  <a:lnTo>
                    <a:pt x="9645" y="4336"/>
                  </a:lnTo>
                  <a:lnTo>
                    <a:pt x="9572" y="3873"/>
                  </a:lnTo>
                  <a:lnTo>
                    <a:pt x="9450" y="3411"/>
                  </a:lnTo>
                  <a:lnTo>
                    <a:pt x="9280" y="2972"/>
                  </a:lnTo>
                  <a:lnTo>
                    <a:pt x="9085" y="2534"/>
                  </a:lnTo>
                  <a:lnTo>
                    <a:pt x="8841" y="2144"/>
                  </a:lnTo>
                  <a:lnTo>
                    <a:pt x="8549" y="1779"/>
                  </a:lnTo>
                  <a:lnTo>
                    <a:pt x="8232" y="1438"/>
                  </a:lnTo>
                  <a:lnTo>
                    <a:pt x="7892" y="1121"/>
                  </a:lnTo>
                  <a:lnTo>
                    <a:pt x="7526" y="829"/>
                  </a:lnTo>
                  <a:lnTo>
                    <a:pt x="7136" y="585"/>
                  </a:lnTo>
                  <a:lnTo>
                    <a:pt x="6698" y="391"/>
                  </a:lnTo>
                  <a:lnTo>
                    <a:pt x="6260" y="220"/>
                  </a:lnTo>
                  <a:lnTo>
                    <a:pt x="5797" y="98"/>
                  </a:lnTo>
                  <a:lnTo>
                    <a:pt x="5334" y="25"/>
                  </a:lnTo>
                  <a:lnTo>
                    <a:pt x="4823" y="1"/>
                  </a:lnTo>
                  <a:lnTo>
                    <a:pt x="482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15;p39">
              <a:extLst>
                <a:ext uri="{FF2B5EF4-FFF2-40B4-BE49-F238E27FC236}">
                  <a16:creationId xmlns:a16="http://schemas.microsoft.com/office/drawing/2014/main" id="{90534483-AAE5-DECA-063F-AE1C219CCB7B}"/>
                </a:ext>
              </a:extLst>
            </p:cNvPr>
            <p:cNvSpPr/>
            <p:nvPr/>
          </p:nvSpPr>
          <p:spPr>
            <a:xfrm>
              <a:off x="4024300" y="3058425"/>
              <a:ext cx="84650" cy="84650"/>
            </a:xfrm>
            <a:custGeom>
              <a:avLst/>
              <a:gdLst/>
              <a:ahLst/>
              <a:cxnLst/>
              <a:rect l="l" t="t" r="r" b="b"/>
              <a:pathLst>
                <a:path w="3386" h="3386" fill="none" extrusionOk="0">
                  <a:moveTo>
                    <a:pt x="0" y="3385"/>
                  </a:moveTo>
                  <a:lnTo>
                    <a:pt x="0" y="3385"/>
                  </a:lnTo>
                  <a:lnTo>
                    <a:pt x="25" y="3020"/>
                  </a:lnTo>
                  <a:lnTo>
                    <a:pt x="74" y="2704"/>
                  </a:lnTo>
                  <a:lnTo>
                    <a:pt x="147" y="2363"/>
                  </a:lnTo>
                  <a:lnTo>
                    <a:pt x="268" y="2070"/>
                  </a:lnTo>
                  <a:lnTo>
                    <a:pt x="414" y="1754"/>
                  </a:lnTo>
                  <a:lnTo>
                    <a:pt x="585" y="1486"/>
                  </a:lnTo>
                  <a:lnTo>
                    <a:pt x="780" y="1218"/>
                  </a:lnTo>
                  <a:lnTo>
                    <a:pt x="999" y="974"/>
                  </a:lnTo>
                  <a:lnTo>
                    <a:pt x="1243" y="755"/>
                  </a:lnTo>
                  <a:lnTo>
                    <a:pt x="1510" y="560"/>
                  </a:lnTo>
                  <a:lnTo>
                    <a:pt x="1778" y="390"/>
                  </a:lnTo>
                  <a:lnTo>
                    <a:pt x="2071" y="244"/>
                  </a:lnTo>
                  <a:lnTo>
                    <a:pt x="2387" y="146"/>
                  </a:lnTo>
                  <a:lnTo>
                    <a:pt x="2704" y="49"/>
                  </a:lnTo>
                  <a:lnTo>
                    <a:pt x="3045" y="0"/>
                  </a:lnTo>
                  <a:lnTo>
                    <a:pt x="3386"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16;p39">
              <a:extLst>
                <a:ext uri="{FF2B5EF4-FFF2-40B4-BE49-F238E27FC236}">
                  <a16:creationId xmlns:a16="http://schemas.microsoft.com/office/drawing/2014/main" id="{B3B0A754-DAA6-8313-E35C-E1A795A12D02}"/>
                </a:ext>
              </a:extLst>
            </p:cNvPr>
            <p:cNvSpPr/>
            <p:nvPr/>
          </p:nvSpPr>
          <p:spPr>
            <a:xfrm>
              <a:off x="4205750" y="3248375"/>
              <a:ext cx="154050" cy="153475"/>
            </a:xfrm>
            <a:custGeom>
              <a:avLst/>
              <a:gdLst/>
              <a:ahLst/>
              <a:cxnLst/>
              <a:rect l="l" t="t" r="r" b="b"/>
              <a:pathLst>
                <a:path w="6162" h="6139" fill="none" extrusionOk="0">
                  <a:moveTo>
                    <a:pt x="0" y="1024"/>
                  </a:moveTo>
                  <a:lnTo>
                    <a:pt x="4969" y="5992"/>
                  </a:lnTo>
                  <a:lnTo>
                    <a:pt x="4969" y="5992"/>
                  </a:lnTo>
                  <a:lnTo>
                    <a:pt x="5042" y="6041"/>
                  </a:lnTo>
                  <a:lnTo>
                    <a:pt x="5115" y="6090"/>
                  </a:lnTo>
                  <a:lnTo>
                    <a:pt x="5212" y="6114"/>
                  </a:lnTo>
                  <a:lnTo>
                    <a:pt x="5310" y="6138"/>
                  </a:lnTo>
                  <a:lnTo>
                    <a:pt x="5407" y="6114"/>
                  </a:lnTo>
                  <a:lnTo>
                    <a:pt x="5480" y="6090"/>
                  </a:lnTo>
                  <a:lnTo>
                    <a:pt x="5577" y="6041"/>
                  </a:lnTo>
                  <a:lnTo>
                    <a:pt x="5651" y="5992"/>
                  </a:lnTo>
                  <a:lnTo>
                    <a:pt x="6016" y="5627"/>
                  </a:lnTo>
                  <a:lnTo>
                    <a:pt x="6016" y="5627"/>
                  </a:lnTo>
                  <a:lnTo>
                    <a:pt x="6089" y="5554"/>
                  </a:lnTo>
                  <a:lnTo>
                    <a:pt x="6138" y="5456"/>
                  </a:lnTo>
                  <a:lnTo>
                    <a:pt x="6162" y="5359"/>
                  </a:lnTo>
                  <a:lnTo>
                    <a:pt x="6162" y="5286"/>
                  </a:lnTo>
                  <a:lnTo>
                    <a:pt x="6162" y="5188"/>
                  </a:lnTo>
                  <a:lnTo>
                    <a:pt x="6138" y="5091"/>
                  </a:lnTo>
                  <a:lnTo>
                    <a:pt x="6089" y="5018"/>
                  </a:lnTo>
                  <a:lnTo>
                    <a:pt x="6016" y="4921"/>
                  </a:lnTo>
                  <a:lnTo>
                    <a:pt x="1072"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426651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a:solidFill>
                  <a:schemeClr val="bg1"/>
                </a:solidFill>
              </a:rPr>
              <a:t>Wie wählt man einen Markennamen?</a:t>
            </a:r>
          </a:p>
          <a:p>
            <a:endParaRPr lang="en-US"/>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1717260"/>
            <a:ext cx="916055" cy="769441"/>
          </a:xfrm>
          <a:prstGeom prst="rect">
            <a:avLst/>
          </a:prstGeom>
          <a:noFill/>
        </p:spPr>
        <p:txBody>
          <a:bodyPr wrap="square">
            <a:spAutoFit/>
          </a:bodyPr>
          <a:lstStyle/>
          <a:p>
            <a:pPr algn="ctr"/>
            <a:r>
              <a:rPr lang="en-US" sz="4400">
                <a:solidFill>
                  <a:schemeClr val="bg1"/>
                </a:solidFill>
              </a:rPr>
              <a:t>1</a:t>
            </a:r>
          </a:p>
        </p:txBody>
      </p:sp>
      <p:sp>
        <p:nvSpPr>
          <p:cNvPr id="10" name="Text Placeholder 6">
            <a:extLst>
              <a:ext uri="{FF2B5EF4-FFF2-40B4-BE49-F238E27FC236}">
                <a16:creationId xmlns:a16="http://schemas.microsoft.com/office/drawing/2014/main" id="{1B96726E-F43C-C69B-C28F-9FA0F4FE4304}"/>
              </a:ext>
            </a:extLst>
          </p:cNvPr>
          <p:cNvSpPr txBox="1">
            <a:spLocks noGrp="1"/>
          </p:cNvSpPr>
          <p:nvPr>
            <p:ph type="body" sz="quarter" idx="18"/>
          </p:nvPr>
        </p:nvSpPr>
        <p:spPr>
          <a:xfrm>
            <a:off x="798513" y="2866107"/>
            <a:ext cx="7511296" cy="2251325"/>
          </a:xfrm>
          <a:prstGeom prst="rect">
            <a:avLst/>
          </a:prstGeom>
        </p:spPr>
        <p:txBody>
          <a:bodyPr vert="horz" lIns="91440" tIns="45720" rIns="91440" bIns="45720" numCol="2"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solidFill>
                  <a:srgbClr val="DE0A1D"/>
                </a:solidFill>
              </a:rPr>
              <a:t>PRO</a:t>
            </a:r>
            <a:r>
              <a:rPr lang="en-US" dirty="0">
                <a:solidFill>
                  <a:srgbClr val="DE0A1D"/>
                </a:solidFill>
              </a:rPr>
              <a:t>S </a:t>
            </a:r>
          </a:p>
          <a:p>
            <a:pPr marL="342900" indent="-342900">
              <a:buFont typeface="Arial" panose="020B0604020202020204" pitchFamily="34" charset="0"/>
              <a:buChar char="•"/>
            </a:pPr>
            <a:r>
              <a:rPr lang="en-US" dirty="0"/>
              <a:t>Ihr Stempel des Eigentums </a:t>
            </a:r>
          </a:p>
          <a:p>
            <a:pPr marL="342900" indent="-342900">
              <a:buFont typeface="Arial" panose="020B0604020202020204" pitchFamily="34" charset="0"/>
              <a:buChar char="•"/>
            </a:pPr>
            <a:r>
              <a:rPr lang="en-US" dirty="0"/>
              <a:t>Ein Vermächtnis für Ihre Familie </a:t>
            </a:r>
          </a:p>
          <a:p>
            <a:pPr marL="342900" indent="-342900">
              <a:buFont typeface="Arial" panose="020B0604020202020204" pitchFamily="34" charset="0"/>
              <a:buChar char="•"/>
            </a:pPr>
            <a:r>
              <a:rPr lang="en-US" dirty="0"/>
              <a:t>Signal Nationalität oder nicht</a:t>
            </a:r>
          </a:p>
          <a:p>
            <a:pPr>
              <a:buClr>
                <a:srgbClr val="EC2179"/>
              </a:buClr>
            </a:pPr>
            <a:r>
              <a:rPr lang="en-US" dirty="0"/>
              <a:t> </a:t>
            </a:r>
          </a:p>
          <a:p>
            <a:pPr marL="412750" indent="-222250">
              <a:buClr>
                <a:srgbClr val="EC2179"/>
              </a:buClr>
            </a:pPr>
            <a:r>
              <a:rPr lang="en-US" b="1" dirty="0">
                <a:solidFill>
                  <a:srgbClr val="DE0A1D"/>
                </a:solidFill>
              </a:rPr>
              <a:t>CONS</a:t>
            </a:r>
          </a:p>
          <a:p>
            <a:pPr marL="533400" indent="-342900">
              <a:buFont typeface="Arial" panose="020B0604020202020204" pitchFamily="34" charset="0"/>
              <a:buChar char="•"/>
            </a:pPr>
            <a:r>
              <a:rPr lang="en-US" dirty="0"/>
              <a:t>Es kann länger dauern, sich zu etablieren</a:t>
            </a:r>
          </a:p>
          <a:p>
            <a:pPr marL="533400" indent="-342900">
              <a:buFont typeface="Arial" panose="020B0604020202020204" pitchFamily="34" charset="0"/>
              <a:buChar char="•"/>
            </a:pPr>
            <a:r>
              <a:rPr lang="en-US" dirty="0"/>
              <a:t>Möglicherweise ist eine weitere Beschreibung erforderlich</a:t>
            </a:r>
          </a:p>
        </p:txBody>
      </p: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899097" y="1964864"/>
            <a:ext cx="5209574"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3200">
                <a:solidFill>
                  <a:srgbClr val="DE0A1D"/>
                </a:solidFill>
              </a:rPr>
              <a:t>NAMEN DER GRÜNDER:</a:t>
            </a:r>
          </a:p>
        </p:txBody>
      </p:sp>
    </p:spTree>
    <p:extLst>
      <p:ext uri="{BB962C8B-B14F-4D97-AF65-F5344CB8AC3E}">
        <p14:creationId xmlns:p14="http://schemas.microsoft.com/office/powerpoint/2010/main" val="250905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Namen der Gründer</a:t>
            </a:r>
          </a:p>
          <a:p>
            <a:endParaRPr lang="en-US"/>
          </a:p>
        </p:txBody>
      </p:sp>
      <p:sp>
        <p:nvSpPr>
          <p:cNvPr id="3" name="Oval 2">
            <a:extLst>
              <a:ext uri="{FF2B5EF4-FFF2-40B4-BE49-F238E27FC236}">
                <a16:creationId xmlns:a16="http://schemas.microsoft.com/office/drawing/2014/main" id="{1E44C1FD-7676-3D5C-1BA7-C2628947D62A}"/>
              </a:ext>
            </a:extLst>
          </p:cNvPr>
          <p:cNvSpPr/>
          <p:nvPr/>
        </p:nvSpPr>
        <p:spPr>
          <a:xfrm>
            <a:off x="8482104" y="688295"/>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a:off x="8944811" y="811962"/>
            <a:ext cx="0" cy="4926263"/>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761603"/>
            <a:ext cx="916055" cy="769441"/>
          </a:xfrm>
          <a:prstGeom prst="rect">
            <a:avLst/>
          </a:prstGeom>
          <a:noFill/>
        </p:spPr>
        <p:txBody>
          <a:bodyPr wrap="square">
            <a:spAutoFit/>
          </a:bodyPr>
          <a:lstStyle/>
          <a:p>
            <a:pPr algn="ctr"/>
            <a:r>
              <a:rPr lang="en-US" sz="4400">
                <a:solidFill>
                  <a:schemeClr val="bg1"/>
                </a:solidFill>
              </a:rPr>
              <a:t>1</a:t>
            </a:r>
          </a:p>
        </p:txBody>
      </p:sp>
      <p:pic>
        <p:nvPicPr>
          <p:cNvPr id="8" name="Picture 7">
            <a:extLst>
              <a:ext uri="{FF2B5EF4-FFF2-40B4-BE49-F238E27FC236}">
                <a16:creationId xmlns:a16="http://schemas.microsoft.com/office/drawing/2014/main" id="{1F0D63DB-572A-8523-F8CE-DCDAF1B2C1C8}"/>
              </a:ext>
            </a:extLst>
          </p:cNvPr>
          <p:cNvPicPr>
            <a:picLocks noChangeAspect="1"/>
          </p:cNvPicPr>
          <p:nvPr/>
        </p:nvPicPr>
        <p:blipFill rotWithShape="1">
          <a:blip r:embed="rId2">
            <a:extLst>
              <a:ext uri="{28A0092B-C50C-407E-A947-70E740481C1C}">
                <a14:useLocalDpi xmlns:a14="http://schemas.microsoft.com/office/drawing/2010/main" val="0"/>
              </a:ext>
            </a:extLst>
          </a:blip>
          <a:srcRect l="-3424" t="-1173" r="30537" b="12394"/>
          <a:stretch/>
        </p:blipFill>
        <p:spPr>
          <a:xfrm flipH="1">
            <a:off x="0" y="2417693"/>
            <a:ext cx="5971083" cy="4481824"/>
          </a:xfrm>
          <a:prstGeom prst="rect">
            <a:avLst/>
          </a:prstGeom>
        </p:spPr>
      </p:pic>
      <p:pic>
        <p:nvPicPr>
          <p:cNvPr id="11" name="Picture 10">
            <a:hlinkClick r:id="rId3"/>
            <a:extLst>
              <a:ext uri="{FF2B5EF4-FFF2-40B4-BE49-F238E27FC236}">
                <a16:creationId xmlns:a16="http://schemas.microsoft.com/office/drawing/2014/main" id="{128CD0C1-6945-47EB-DC20-DD2BAF09D676}"/>
              </a:ext>
            </a:extLst>
          </p:cNvPr>
          <p:cNvPicPr>
            <a:picLocks noChangeAspect="1"/>
          </p:cNvPicPr>
          <p:nvPr/>
        </p:nvPicPr>
        <p:blipFill>
          <a:blip r:embed="rId4"/>
          <a:stretch>
            <a:fillRect/>
          </a:stretch>
        </p:blipFill>
        <p:spPr>
          <a:xfrm>
            <a:off x="1496372" y="3096126"/>
            <a:ext cx="3560945" cy="2381306"/>
          </a:xfrm>
          <a:prstGeom prst="rect">
            <a:avLst/>
          </a:prstGeom>
        </p:spPr>
      </p:pic>
      <p:sp>
        <p:nvSpPr>
          <p:cNvPr id="13" name="Oval 12">
            <a:hlinkClick r:id="rId3"/>
            <a:extLst>
              <a:ext uri="{FF2B5EF4-FFF2-40B4-BE49-F238E27FC236}">
                <a16:creationId xmlns:a16="http://schemas.microsoft.com/office/drawing/2014/main" id="{16FBB4B2-1444-9115-5F70-8E0A94EC1A11}"/>
              </a:ext>
            </a:extLst>
          </p:cNvPr>
          <p:cNvSpPr/>
          <p:nvPr/>
        </p:nvSpPr>
        <p:spPr>
          <a:xfrm>
            <a:off x="4943836" y="4091794"/>
            <a:ext cx="1685925" cy="1685925"/>
          </a:xfrm>
          <a:prstGeom prst="ellipse">
            <a:avLst/>
          </a:prstGeom>
          <a:solidFill>
            <a:srgbClr val="DE0A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a:solidFill>
                  <a:schemeClr val="bg1"/>
                </a:solidFill>
              </a:rPr>
              <a:t>ZUM ANSEHEN KLICKEN</a:t>
            </a:r>
          </a:p>
        </p:txBody>
      </p:sp>
      <p:sp>
        <p:nvSpPr>
          <p:cNvPr id="15" name="Text Placeholder 14">
            <a:extLst>
              <a:ext uri="{FF2B5EF4-FFF2-40B4-BE49-F238E27FC236}">
                <a16:creationId xmlns:a16="http://schemas.microsoft.com/office/drawing/2014/main" id="{58DDC0B0-2426-F90B-066C-991EBC33B413}"/>
              </a:ext>
            </a:extLst>
          </p:cNvPr>
          <p:cNvSpPr>
            <a:spLocks noGrp="1"/>
          </p:cNvSpPr>
          <p:nvPr>
            <p:ph type="body" sz="quarter" idx="18"/>
          </p:nvPr>
        </p:nvSpPr>
        <p:spPr>
          <a:xfrm>
            <a:off x="2999877" y="1844128"/>
            <a:ext cx="5689398" cy="564055"/>
          </a:xfrm>
        </p:spPr>
        <p:txBody>
          <a:bodyPr/>
          <a:lstStyle/>
          <a:p>
            <a:r>
              <a:rPr lang="en-GB"/>
              <a:t>Beispiel: </a:t>
            </a:r>
            <a:r>
              <a:rPr lang="en-GB" err="1"/>
              <a:t>Funké </a:t>
            </a:r>
            <a:r>
              <a:rPr lang="en-GB"/>
              <a:t>Afro - Karibische Küche</a:t>
            </a:r>
            <a:endParaRPr lang="en-IE"/>
          </a:p>
        </p:txBody>
      </p:sp>
      <p:grpSp>
        <p:nvGrpSpPr>
          <p:cNvPr id="16" name="Google Shape;612;p39">
            <a:extLst>
              <a:ext uri="{FF2B5EF4-FFF2-40B4-BE49-F238E27FC236}">
                <a16:creationId xmlns:a16="http://schemas.microsoft.com/office/drawing/2014/main" id="{72D5C01D-705A-7D57-24C6-A17735359FEF}"/>
              </a:ext>
            </a:extLst>
          </p:cNvPr>
          <p:cNvGrpSpPr/>
          <p:nvPr/>
        </p:nvGrpSpPr>
        <p:grpSpPr>
          <a:xfrm>
            <a:off x="5567868" y="5142891"/>
            <a:ext cx="453026" cy="462520"/>
            <a:chOff x="3951850" y="2985350"/>
            <a:chExt cx="407950" cy="416500"/>
          </a:xfrm>
        </p:grpSpPr>
        <p:sp>
          <p:nvSpPr>
            <p:cNvPr id="17" name="Google Shape;613;p39">
              <a:extLst>
                <a:ext uri="{FF2B5EF4-FFF2-40B4-BE49-F238E27FC236}">
                  <a16:creationId xmlns:a16="http://schemas.microsoft.com/office/drawing/2014/main" id="{AFE70990-ADCD-23A2-B58D-FFEA2823A966}"/>
                </a:ext>
              </a:extLst>
            </p:cNvPr>
            <p:cNvSpPr/>
            <p:nvPr/>
          </p:nvSpPr>
          <p:spPr>
            <a:xfrm>
              <a:off x="3951850" y="2985350"/>
              <a:ext cx="314800" cy="314825"/>
            </a:xfrm>
            <a:custGeom>
              <a:avLst/>
              <a:gdLst/>
              <a:ahLst/>
              <a:cxnLst/>
              <a:rect l="l" t="t" r="r" b="b"/>
              <a:pathLst>
                <a:path w="12592" h="12593" fill="none" extrusionOk="0">
                  <a:moveTo>
                    <a:pt x="6284" y="1"/>
                  </a:moveTo>
                  <a:lnTo>
                    <a:pt x="6284" y="1"/>
                  </a:lnTo>
                  <a:lnTo>
                    <a:pt x="5967" y="25"/>
                  </a:lnTo>
                  <a:lnTo>
                    <a:pt x="5651" y="49"/>
                  </a:lnTo>
                  <a:lnTo>
                    <a:pt x="5334" y="74"/>
                  </a:lnTo>
                  <a:lnTo>
                    <a:pt x="5017" y="147"/>
                  </a:lnTo>
                  <a:lnTo>
                    <a:pt x="4725" y="220"/>
                  </a:lnTo>
                  <a:lnTo>
                    <a:pt x="4433" y="293"/>
                  </a:lnTo>
                  <a:lnTo>
                    <a:pt x="4141" y="390"/>
                  </a:lnTo>
                  <a:lnTo>
                    <a:pt x="3848" y="512"/>
                  </a:lnTo>
                  <a:lnTo>
                    <a:pt x="3556" y="634"/>
                  </a:lnTo>
                  <a:lnTo>
                    <a:pt x="3288" y="780"/>
                  </a:lnTo>
                  <a:lnTo>
                    <a:pt x="3020" y="926"/>
                  </a:lnTo>
                  <a:lnTo>
                    <a:pt x="2777" y="1072"/>
                  </a:lnTo>
                  <a:lnTo>
                    <a:pt x="2290" y="1437"/>
                  </a:lnTo>
                  <a:lnTo>
                    <a:pt x="1851" y="1852"/>
                  </a:lnTo>
                  <a:lnTo>
                    <a:pt x="1437" y="2290"/>
                  </a:lnTo>
                  <a:lnTo>
                    <a:pt x="1072" y="2777"/>
                  </a:lnTo>
                  <a:lnTo>
                    <a:pt x="901" y="3045"/>
                  </a:lnTo>
                  <a:lnTo>
                    <a:pt x="755" y="3313"/>
                  </a:lnTo>
                  <a:lnTo>
                    <a:pt x="609" y="3581"/>
                  </a:lnTo>
                  <a:lnTo>
                    <a:pt x="487" y="3849"/>
                  </a:lnTo>
                  <a:lnTo>
                    <a:pt x="390" y="4141"/>
                  </a:lnTo>
                  <a:lnTo>
                    <a:pt x="292" y="4433"/>
                  </a:lnTo>
                  <a:lnTo>
                    <a:pt x="195" y="4725"/>
                  </a:lnTo>
                  <a:lnTo>
                    <a:pt x="122" y="5042"/>
                  </a:lnTo>
                  <a:lnTo>
                    <a:pt x="73" y="5334"/>
                  </a:lnTo>
                  <a:lnTo>
                    <a:pt x="25" y="5651"/>
                  </a:lnTo>
                  <a:lnTo>
                    <a:pt x="0" y="5968"/>
                  </a:lnTo>
                  <a:lnTo>
                    <a:pt x="0" y="6308"/>
                  </a:lnTo>
                  <a:lnTo>
                    <a:pt x="0" y="6308"/>
                  </a:lnTo>
                  <a:lnTo>
                    <a:pt x="0" y="6625"/>
                  </a:lnTo>
                  <a:lnTo>
                    <a:pt x="25" y="6942"/>
                  </a:lnTo>
                  <a:lnTo>
                    <a:pt x="73" y="7258"/>
                  </a:lnTo>
                  <a:lnTo>
                    <a:pt x="122" y="7575"/>
                  </a:lnTo>
                  <a:lnTo>
                    <a:pt x="195" y="7867"/>
                  </a:lnTo>
                  <a:lnTo>
                    <a:pt x="292" y="8184"/>
                  </a:lnTo>
                  <a:lnTo>
                    <a:pt x="390" y="8476"/>
                  </a:lnTo>
                  <a:lnTo>
                    <a:pt x="487" y="8744"/>
                  </a:lnTo>
                  <a:lnTo>
                    <a:pt x="609" y="9036"/>
                  </a:lnTo>
                  <a:lnTo>
                    <a:pt x="755" y="9304"/>
                  </a:lnTo>
                  <a:lnTo>
                    <a:pt x="901" y="9572"/>
                  </a:lnTo>
                  <a:lnTo>
                    <a:pt x="1072" y="9816"/>
                  </a:lnTo>
                  <a:lnTo>
                    <a:pt x="1437" y="10303"/>
                  </a:lnTo>
                  <a:lnTo>
                    <a:pt x="1851" y="10741"/>
                  </a:lnTo>
                  <a:lnTo>
                    <a:pt x="2290" y="11155"/>
                  </a:lnTo>
                  <a:lnTo>
                    <a:pt x="2777" y="11520"/>
                  </a:lnTo>
                  <a:lnTo>
                    <a:pt x="3020" y="11691"/>
                  </a:lnTo>
                  <a:lnTo>
                    <a:pt x="3288" y="11837"/>
                  </a:lnTo>
                  <a:lnTo>
                    <a:pt x="3556" y="11983"/>
                  </a:lnTo>
                  <a:lnTo>
                    <a:pt x="3848" y="12105"/>
                  </a:lnTo>
                  <a:lnTo>
                    <a:pt x="4141" y="12202"/>
                  </a:lnTo>
                  <a:lnTo>
                    <a:pt x="4433" y="12300"/>
                  </a:lnTo>
                  <a:lnTo>
                    <a:pt x="4725" y="12397"/>
                  </a:lnTo>
                  <a:lnTo>
                    <a:pt x="5017" y="12470"/>
                  </a:lnTo>
                  <a:lnTo>
                    <a:pt x="5334" y="12519"/>
                  </a:lnTo>
                  <a:lnTo>
                    <a:pt x="5651" y="12568"/>
                  </a:lnTo>
                  <a:lnTo>
                    <a:pt x="5967" y="12592"/>
                  </a:lnTo>
                  <a:lnTo>
                    <a:pt x="6284" y="12592"/>
                  </a:lnTo>
                  <a:lnTo>
                    <a:pt x="6284" y="12592"/>
                  </a:lnTo>
                  <a:lnTo>
                    <a:pt x="6625" y="12592"/>
                  </a:lnTo>
                  <a:lnTo>
                    <a:pt x="6941" y="12568"/>
                  </a:lnTo>
                  <a:lnTo>
                    <a:pt x="7258" y="12519"/>
                  </a:lnTo>
                  <a:lnTo>
                    <a:pt x="7550" y="12470"/>
                  </a:lnTo>
                  <a:lnTo>
                    <a:pt x="7867" y="12397"/>
                  </a:lnTo>
                  <a:lnTo>
                    <a:pt x="8159" y="12300"/>
                  </a:lnTo>
                  <a:lnTo>
                    <a:pt x="8451" y="12202"/>
                  </a:lnTo>
                  <a:lnTo>
                    <a:pt x="8744" y="12105"/>
                  </a:lnTo>
                  <a:lnTo>
                    <a:pt x="9012" y="11983"/>
                  </a:lnTo>
                  <a:lnTo>
                    <a:pt x="9279" y="11837"/>
                  </a:lnTo>
                  <a:lnTo>
                    <a:pt x="9547" y="11691"/>
                  </a:lnTo>
                  <a:lnTo>
                    <a:pt x="9815" y="11520"/>
                  </a:lnTo>
                  <a:lnTo>
                    <a:pt x="10302" y="11155"/>
                  </a:lnTo>
                  <a:lnTo>
                    <a:pt x="10741" y="10741"/>
                  </a:lnTo>
                  <a:lnTo>
                    <a:pt x="11155" y="10303"/>
                  </a:lnTo>
                  <a:lnTo>
                    <a:pt x="11520" y="9816"/>
                  </a:lnTo>
                  <a:lnTo>
                    <a:pt x="11666" y="9572"/>
                  </a:lnTo>
                  <a:lnTo>
                    <a:pt x="11812" y="9304"/>
                  </a:lnTo>
                  <a:lnTo>
                    <a:pt x="11958" y="9036"/>
                  </a:lnTo>
                  <a:lnTo>
                    <a:pt x="12080" y="8744"/>
                  </a:lnTo>
                  <a:lnTo>
                    <a:pt x="12202" y="8476"/>
                  </a:lnTo>
                  <a:lnTo>
                    <a:pt x="12299" y="8184"/>
                  </a:lnTo>
                  <a:lnTo>
                    <a:pt x="12397" y="7867"/>
                  </a:lnTo>
                  <a:lnTo>
                    <a:pt x="12446" y="7575"/>
                  </a:lnTo>
                  <a:lnTo>
                    <a:pt x="12519" y="7258"/>
                  </a:lnTo>
                  <a:lnTo>
                    <a:pt x="12543" y="6942"/>
                  </a:lnTo>
                  <a:lnTo>
                    <a:pt x="12567" y="6625"/>
                  </a:lnTo>
                  <a:lnTo>
                    <a:pt x="12592" y="6308"/>
                  </a:lnTo>
                  <a:lnTo>
                    <a:pt x="12592" y="6308"/>
                  </a:lnTo>
                  <a:lnTo>
                    <a:pt x="12567" y="5968"/>
                  </a:lnTo>
                  <a:lnTo>
                    <a:pt x="12543" y="5651"/>
                  </a:lnTo>
                  <a:lnTo>
                    <a:pt x="12519" y="5334"/>
                  </a:lnTo>
                  <a:lnTo>
                    <a:pt x="12446" y="5042"/>
                  </a:lnTo>
                  <a:lnTo>
                    <a:pt x="12397" y="4725"/>
                  </a:lnTo>
                  <a:lnTo>
                    <a:pt x="12299" y="4433"/>
                  </a:lnTo>
                  <a:lnTo>
                    <a:pt x="12202" y="4141"/>
                  </a:lnTo>
                  <a:lnTo>
                    <a:pt x="12080" y="3849"/>
                  </a:lnTo>
                  <a:lnTo>
                    <a:pt x="11958" y="3581"/>
                  </a:lnTo>
                  <a:lnTo>
                    <a:pt x="11812" y="3313"/>
                  </a:lnTo>
                  <a:lnTo>
                    <a:pt x="11666" y="3045"/>
                  </a:lnTo>
                  <a:lnTo>
                    <a:pt x="11520" y="2777"/>
                  </a:lnTo>
                  <a:lnTo>
                    <a:pt x="11155" y="2290"/>
                  </a:lnTo>
                  <a:lnTo>
                    <a:pt x="10741" y="1852"/>
                  </a:lnTo>
                  <a:lnTo>
                    <a:pt x="10302" y="1437"/>
                  </a:lnTo>
                  <a:lnTo>
                    <a:pt x="9815" y="1072"/>
                  </a:lnTo>
                  <a:lnTo>
                    <a:pt x="9547" y="926"/>
                  </a:lnTo>
                  <a:lnTo>
                    <a:pt x="9279" y="780"/>
                  </a:lnTo>
                  <a:lnTo>
                    <a:pt x="9012" y="634"/>
                  </a:lnTo>
                  <a:lnTo>
                    <a:pt x="8744" y="512"/>
                  </a:lnTo>
                  <a:lnTo>
                    <a:pt x="8451" y="390"/>
                  </a:lnTo>
                  <a:lnTo>
                    <a:pt x="8159" y="293"/>
                  </a:lnTo>
                  <a:lnTo>
                    <a:pt x="7867" y="220"/>
                  </a:lnTo>
                  <a:lnTo>
                    <a:pt x="7550" y="147"/>
                  </a:lnTo>
                  <a:lnTo>
                    <a:pt x="7258" y="74"/>
                  </a:lnTo>
                  <a:lnTo>
                    <a:pt x="6941" y="49"/>
                  </a:lnTo>
                  <a:lnTo>
                    <a:pt x="6625" y="25"/>
                  </a:lnTo>
                  <a:lnTo>
                    <a:pt x="6284" y="1"/>
                  </a:lnTo>
                  <a:lnTo>
                    <a:pt x="6284" y="1"/>
                  </a:lnTo>
                  <a:close/>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14;p39">
              <a:extLst>
                <a:ext uri="{FF2B5EF4-FFF2-40B4-BE49-F238E27FC236}">
                  <a16:creationId xmlns:a16="http://schemas.microsoft.com/office/drawing/2014/main" id="{B4DF8A37-6108-327F-E26C-0A4413F9B3DC}"/>
                </a:ext>
              </a:extLst>
            </p:cNvPr>
            <p:cNvSpPr/>
            <p:nvPr/>
          </p:nvSpPr>
          <p:spPr>
            <a:xfrm>
              <a:off x="3988375" y="3021875"/>
              <a:ext cx="241750" cy="241750"/>
            </a:xfrm>
            <a:custGeom>
              <a:avLst/>
              <a:gdLst/>
              <a:ahLst/>
              <a:cxnLst/>
              <a:rect l="l" t="t" r="r" b="b"/>
              <a:pathLst>
                <a:path w="9670" h="9670" fill="none" extrusionOk="0">
                  <a:moveTo>
                    <a:pt x="4823" y="1"/>
                  </a:moveTo>
                  <a:lnTo>
                    <a:pt x="4823" y="1"/>
                  </a:lnTo>
                  <a:lnTo>
                    <a:pt x="4336" y="25"/>
                  </a:lnTo>
                  <a:lnTo>
                    <a:pt x="3849" y="98"/>
                  </a:lnTo>
                  <a:lnTo>
                    <a:pt x="3386" y="220"/>
                  </a:lnTo>
                  <a:lnTo>
                    <a:pt x="2947" y="391"/>
                  </a:lnTo>
                  <a:lnTo>
                    <a:pt x="2533" y="585"/>
                  </a:lnTo>
                  <a:lnTo>
                    <a:pt x="2144" y="829"/>
                  </a:lnTo>
                  <a:lnTo>
                    <a:pt x="1754" y="1121"/>
                  </a:lnTo>
                  <a:lnTo>
                    <a:pt x="1413" y="1438"/>
                  </a:lnTo>
                  <a:lnTo>
                    <a:pt x="1096" y="1779"/>
                  </a:lnTo>
                  <a:lnTo>
                    <a:pt x="829" y="2144"/>
                  </a:lnTo>
                  <a:lnTo>
                    <a:pt x="585" y="2534"/>
                  </a:lnTo>
                  <a:lnTo>
                    <a:pt x="390" y="2972"/>
                  </a:lnTo>
                  <a:lnTo>
                    <a:pt x="220" y="3411"/>
                  </a:lnTo>
                  <a:lnTo>
                    <a:pt x="98" y="3873"/>
                  </a:lnTo>
                  <a:lnTo>
                    <a:pt x="25" y="4336"/>
                  </a:lnTo>
                  <a:lnTo>
                    <a:pt x="1" y="4847"/>
                  </a:lnTo>
                  <a:lnTo>
                    <a:pt x="1" y="4847"/>
                  </a:lnTo>
                  <a:lnTo>
                    <a:pt x="25" y="5335"/>
                  </a:lnTo>
                  <a:lnTo>
                    <a:pt x="98" y="5822"/>
                  </a:lnTo>
                  <a:lnTo>
                    <a:pt x="220" y="6284"/>
                  </a:lnTo>
                  <a:lnTo>
                    <a:pt x="390" y="6723"/>
                  </a:lnTo>
                  <a:lnTo>
                    <a:pt x="585" y="7137"/>
                  </a:lnTo>
                  <a:lnTo>
                    <a:pt x="829" y="7527"/>
                  </a:lnTo>
                  <a:lnTo>
                    <a:pt x="1096" y="7916"/>
                  </a:lnTo>
                  <a:lnTo>
                    <a:pt x="1413" y="8257"/>
                  </a:lnTo>
                  <a:lnTo>
                    <a:pt x="1754" y="8574"/>
                  </a:lnTo>
                  <a:lnTo>
                    <a:pt x="2144" y="8842"/>
                  </a:lnTo>
                  <a:lnTo>
                    <a:pt x="2533" y="9085"/>
                  </a:lnTo>
                  <a:lnTo>
                    <a:pt x="2947" y="9280"/>
                  </a:lnTo>
                  <a:lnTo>
                    <a:pt x="3386" y="9451"/>
                  </a:lnTo>
                  <a:lnTo>
                    <a:pt x="3849" y="9572"/>
                  </a:lnTo>
                  <a:lnTo>
                    <a:pt x="4336" y="9645"/>
                  </a:lnTo>
                  <a:lnTo>
                    <a:pt x="4823" y="9670"/>
                  </a:lnTo>
                  <a:lnTo>
                    <a:pt x="4823" y="9670"/>
                  </a:lnTo>
                  <a:lnTo>
                    <a:pt x="5334" y="9645"/>
                  </a:lnTo>
                  <a:lnTo>
                    <a:pt x="5797" y="9572"/>
                  </a:lnTo>
                  <a:lnTo>
                    <a:pt x="6260" y="9451"/>
                  </a:lnTo>
                  <a:lnTo>
                    <a:pt x="6698" y="9280"/>
                  </a:lnTo>
                  <a:lnTo>
                    <a:pt x="7136" y="9085"/>
                  </a:lnTo>
                  <a:lnTo>
                    <a:pt x="7526" y="8842"/>
                  </a:lnTo>
                  <a:lnTo>
                    <a:pt x="7892" y="8574"/>
                  </a:lnTo>
                  <a:lnTo>
                    <a:pt x="8232" y="8257"/>
                  </a:lnTo>
                  <a:lnTo>
                    <a:pt x="8549" y="7916"/>
                  </a:lnTo>
                  <a:lnTo>
                    <a:pt x="8841" y="7527"/>
                  </a:lnTo>
                  <a:lnTo>
                    <a:pt x="9085" y="7137"/>
                  </a:lnTo>
                  <a:lnTo>
                    <a:pt x="9280" y="6723"/>
                  </a:lnTo>
                  <a:lnTo>
                    <a:pt x="9450" y="6284"/>
                  </a:lnTo>
                  <a:lnTo>
                    <a:pt x="9572" y="5822"/>
                  </a:lnTo>
                  <a:lnTo>
                    <a:pt x="9645" y="5335"/>
                  </a:lnTo>
                  <a:lnTo>
                    <a:pt x="9669" y="4847"/>
                  </a:lnTo>
                  <a:lnTo>
                    <a:pt x="9669" y="4847"/>
                  </a:lnTo>
                  <a:lnTo>
                    <a:pt x="9645" y="4336"/>
                  </a:lnTo>
                  <a:lnTo>
                    <a:pt x="9572" y="3873"/>
                  </a:lnTo>
                  <a:lnTo>
                    <a:pt x="9450" y="3411"/>
                  </a:lnTo>
                  <a:lnTo>
                    <a:pt x="9280" y="2972"/>
                  </a:lnTo>
                  <a:lnTo>
                    <a:pt x="9085" y="2534"/>
                  </a:lnTo>
                  <a:lnTo>
                    <a:pt x="8841" y="2144"/>
                  </a:lnTo>
                  <a:lnTo>
                    <a:pt x="8549" y="1779"/>
                  </a:lnTo>
                  <a:lnTo>
                    <a:pt x="8232" y="1438"/>
                  </a:lnTo>
                  <a:lnTo>
                    <a:pt x="7892" y="1121"/>
                  </a:lnTo>
                  <a:lnTo>
                    <a:pt x="7526" y="829"/>
                  </a:lnTo>
                  <a:lnTo>
                    <a:pt x="7136" y="585"/>
                  </a:lnTo>
                  <a:lnTo>
                    <a:pt x="6698" y="391"/>
                  </a:lnTo>
                  <a:lnTo>
                    <a:pt x="6260" y="220"/>
                  </a:lnTo>
                  <a:lnTo>
                    <a:pt x="5797" y="98"/>
                  </a:lnTo>
                  <a:lnTo>
                    <a:pt x="5334" y="25"/>
                  </a:lnTo>
                  <a:lnTo>
                    <a:pt x="4823" y="1"/>
                  </a:lnTo>
                  <a:lnTo>
                    <a:pt x="482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15;p39">
              <a:extLst>
                <a:ext uri="{FF2B5EF4-FFF2-40B4-BE49-F238E27FC236}">
                  <a16:creationId xmlns:a16="http://schemas.microsoft.com/office/drawing/2014/main" id="{51E2D741-9605-8138-13CC-64DAD006DF25}"/>
                </a:ext>
              </a:extLst>
            </p:cNvPr>
            <p:cNvSpPr/>
            <p:nvPr/>
          </p:nvSpPr>
          <p:spPr>
            <a:xfrm>
              <a:off x="4024300" y="3058425"/>
              <a:ext cx="84650" cy="84650"/>
            </a:xfrm>
            <a:custGeom>
              <a:avLst/>
              <a:gdLst/>
              <a:ahLst/>
              <a:cxnLst/>
              <a:rect l="l" t="t" r="r" b="b"/>
              <a:pathLst>
                <a:path w="3386" h="3386" fill="none" extrusionOk="0">
                  <a:moveTo>
                    <a:pt x="0" y="3385"/>
                  </a:moveTo>
                  <a:lnTo>
                    <a:pt x="0" y="3385"/>
                  </a:lnTo>
                  <a:lnTo>
                    <a:pt x="25" y="3020"/>
                  </a:lnTo>
                  <a:lnTo>
                    <a:pt x="74" y="2704"/>
                  </a:lnTo>
                  <a:lnTo>
                    <a:pt x="147" y="2363"/>
                  </a:lnTo>
                  <a:lnTo>
                    <a:pt x="268" y="2070"/>
                  </a:lnTo>
                  <a:lnTo>
                    <a:pt x="414" y="1754"/>
                  </a:lnTo>
                  <a:lnTo>
                    <a:pt x="585" y="1486"/>
                  </a:lnTo>
                  <a:lnTo>
                    <a:pt x="780" y="1218"/>
                  </a:lnTo>
                  <a:lnTo>
                    <a:pt x="999" y="974"/>
                  </a:lnTo>
                  <a:lnTo>
                    <a:pt x="1243" y="755"/>
                  </a:lnTo>
                  <a:lnTo>
                    <a:pt x="1510" y="560"/>
                  </a:lnTo>
                  <a:lnTo>
                    <a:pt x="1778" y="390"/>
                  </a:lnTo>
                  <a:lnTo>
                    <a:pt x="2071" y="244"/>
                  </a:lnTo>
                  <a:lnTo>
                    <a:pt x="2387" y="146"/>
                  </a:lnTo>
                  <a:lnTo>
                    <a:pt x="2704" y="49"/>
                  </a:lnTo>
                  <a:lnTo>
                    <a:pt x="3045" y="0"/>
                  </a:lnTo>
                  <a:lnTo>
                    <a:pt x="3386"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16;p39">
              <a:extLst>
                <a:ext uri="{FF2B5EF4-FFF2-40B4-BE49-F238E27FC236}">
                  <a16:creationId xmlns:a16="http://schemas.microsoft.com/office/drawing/2014/main" id="{A09BB111-2A1A-A469-883E-102AF6B22083}"/>
                </a:ext>
              </a:extLst>
            </p:cNvPr>
            <p:cNvSpPr/>
            <p:nvPr/>
          </p:nvSpPr>
          <p:spPr>
            <a:xfrm>
              <a:off x="4205750" y="3248375"/>
              <a:ext cx="154050" cy="153475"/>
            </a:xfrm>
            <a:custGeom>
              <a:avLst/>
              <a:gdLst/>
              <a:ahLst/>
              <a:cxnLst/>
              <a:rect l="l" t="t" r="r" b="b"/>
              <a:pathLst>
                <a:path w="6162" h="6139" fill="none" extrusionOk="0">
                  <a:moveTo>
                    <a:pt x="0" y="1024"/>
                  </a:moveTo>
                  <a:lnTo>
                    <a:pt x="4969" y="5992"/>
                  </a:lnTo>
                  <a:lnTo>
                    <a:pt x="4969" y="5992"/>
                  </a:lnTo>
                  <a:lnTo>
                    <a:pt x="5042" y="6041"/>
                  </a:lnTo>
                  <a:lnTo>
                    <a:pt x="5115" y="6090"/>
                  </a:lnTo>
                  <a:lnTo>
                    <a:pt x="5212" y="6114"/>
                  </a:lnTo>
                  <a:lnTo>
                    <a:pt x="5310" y="6138"/>
                  </a:lnTo>
                  <a:lnTo>
                    <a:pt x="5407" y="6114"/>
                  </a:lnTo>
                  <a:lnTo>
                    <a:pt x="5480" y="6090"/>
                  </a:lnTo>
                  <a:lnTo>
                    <a:pt x="5577" y="6041"/>
                  </a:lnTo>
                  <a:lnTo>
                    <a:pt x="5651" y="5992"/>
                  </a:lnTo>
                  <a:lnTo>
                    <a:pt x="6016" y="5627"/>
                  </a:lnTo>
                  <a:lnTo>
                    <a:pt x="6016" y="5627"/>
                  </a:lnTo>
                  <a:lnTo>
                    <a:pt x="6089" y="5554"/>
                  </a:lnTo>
                  <a:lnTo>
                    <a:pt x="6138" y="5456"/>
                  </a:lnTo>
                  <a:lnTo>
                    <a:pt x="6162" y="5359"/>
                  </a:lnTo>
                  <a:lnTo>
                    <a:pt x="6162" y="5286"/>
                  </a:lnTo>
                  <a:lnTo>
                    <a:pt x="6162" y="5188"/>
                  </a:lnTo>
                  <a:lnTo>
                    <a:pt x="6138" y="5091"/>
                  </a:lnTo>
                  <a:lnTo>
                    <a:pt x="6089" y="5018"/>
                  </a:lnTo>
                  <a:lnTo>
                    <a:pt x="6016" y="4921"/>
                  </a:lnTo>
                  <a:lnTo>
                    <a:pt x="1072"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2390356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a:solidFill>
                  <a:schemeClr val="bg1"/>
                </a:solidFill>
              </a:rPr>
              <a:t>Personifizierung</a:t>
            </a:r>
          </a:p>
          <a:p>
            <a:endParaRPr lang="en-US"/>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1717260"/>
            <a:ext cx="916055" cy="769441"/>
          </a:xfrm>
          <a:prstGeom prst="rect">
            <a:avLst/>
          </a:prstGeom>
          <a:noFill/>
        </p:spPr>
        <p:txBody>
          <a:bodyPr wrap="square">
            <a:spAutoFit/>
          </a:bodyPr>
          <a:lstStyle/>
          <a:p>
            <a:pPr algn="ctr"/>
            <a:r>
              <a:rPr lang="en-US" sz="4400">
                <a:solidFill>
                  <a:schemeClr val="bg1"/>
                </a:solidFill>
              </a:rPr>
              <a:t>2</a:t>
            </a:r>
          </a:p>
        </p:txBody>
      </p: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899097" y="1964864"/>
            <a:ext cx="6727584"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a:solidFill>
                  <a:srgbClr val="595959"/>
                </a:solidFill>
              </a:rPr>
              <a:t>Marken, die ihren Namen einem Mythos verdanken</a:t>
            </a:r>
          </a:p>
        </p:txBody>
      </p:sp>
      <p:pic>
        <p:nvPicPr>
          <p:cNvPr id="1026" name="Picture 2" descr="Amazon Logo Font - Dafont Free">
            <a:extLst>
              <a:ext uri="{FF2B5EF4-FFF2-40B4-BE49-F238E27FC236}">
                <a16:creationId xmlns:a16="http://schemas.microsoft.com/office/drawing/2014/main" id="{64FE698C-5F52-7905-E05A-7A0683229B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097" y="2659988"/>
            <a:ext cx="2303265" cy="141982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ike Logo, symbol, meaning, history, PNG, brand">
            <a:extLst>
              <a:ext uri="{FF2B5EF4-FFF2-40B4-BE49-F238E27FC236}">
                <a16:creationId xmlns:a16="http://schemas.microsoft.com/office/drawing/2014/main" id="{2C0B6968-CC11-D6F3-976C-13F7C0968E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0307" y="2633317"/>
            <a:ext cx="2590948" cy="145740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FE6D398D-3CD6-8AB7-E4DD-9104035B3135}"/>
              </a:ext>
            </a:extLst>
          </p:cNvPr>
          <p:cNvPicPr>
            <a:picLocks noChangeAspect="1"/>
          </p:cNvPicPr>
          <p:nvPr/>
        </p:nvPicPr>
        <p:blipFill>
          <a:blip r:embed="rId4"/>
          <a:stretch>
            <a:fillRect/>
          </a:stretch>
        </p:blipFill>
        <p:spPr>
          <a:xfrm>
            <a:off x="4830970" y="4239447"/>
            <a:ext cx="2530059" cy="1419822"/>
          </a:xfrm>
          <a:prstGeom prst="rect">
            <a:avLst/>
          </a:prstGeom>
        </p:spPr>
      </p:pic>
      <p:pic>
        <p:nvPicPr>
          <p:cNvPr id="1034" name="Picture 10" descr="Pandora Logo and symbol, meaning, history, PNG, brand">
            <a:extLst>
              <a:ext uri="{FF2B5EF4-FFF2-40B4-BE49-F238E27FC236}">
                <a16:creationId xmlns:a16="http://schemas.microsoft.com/office/drawing/2014/main" id="{8F5FEEB0-2894-AFB4-CDE2-9689AB2AE5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761" y="4364794"/>
            <a:ext cx="2524128" cy="1419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87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54002" y="1925583"/>
            <a:ext cx="7415178" cy="803654"/>
          </a:xfrm>
        </p:spPr>
        <p:txBody>
          <a:bodyPr/>
          <a:lstStyle/>
          <a:p>
            <a:pPr marL="0" indent="0"/>
            <a:r>
              <a:rPr lang="en-US" dirty="0"/>
              <a:t>Wählen Sie einen Ort, der für Sie und Ihre Marke eine besondere Bedeutung ha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Geographie</a:t>
            </a:r>
          </a:p>
          <a:p>
            <a:endParaRPr lang="en-US"/>
          </a:p>
        </p:txBody>
      </p:sp>
      <p:sp>
        <p:nvSpPr>
          <p:cNvPr id="3" name="Oval 2">
            <a:extLst>
              <a:ext uri="{FF2B5EF4-FFF2-40B4-BE49-F238E27FC236}">
                <a16:creationId xmlns:a16="http://schemas.microsoft.com/office/drawing/2014/main" id="{1E44C1FD-7676-3D5C-1BA7-C2628947D62A}"/>
              </a:ext>
            </a:extLst>
          </p:cNvPr>
          <p:cNvSpPr/>
          <p:nvPr/>
        </p:nvSpPr>
        <p:spPr>
          <a:xfrm>
            <a:off x="8482104" y="688295"/>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a:off x="8944811" y="811962"/>
            <a:ext cx="0" cy="4926263"/>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pic>
        <p:nvPicPr>
          <p:cNvPr id="2050" name="Picture 2" descr="Toyota Logo, Toyota Car Symbol Meaning and History | Car Brand Names.com">
            <a:extLst>
              <a:ext uri="{FF2B5EF4-FFF2-40B4-BE49-F238E27FC236}">
                <a16:creationId xmlns:a16="http://schemas.microsoft.com/office/drawing/2014/main" id="{E71752B4-28CA-08C3-E99E-F756F9FD20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8921" y="3283547"/>
            <a:ext cx="1838447" cy="153263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isco Logo and symbol, meaning, history, PNG, brand">
            <a:extLst>
              <a:ext uri="{FF2B5EF4-FFF2-40B4-BE49-F238E27FC236}">
                <a16:creationId xmlns:a16="http://schemas.microsoft.com/office/drawing/2014/main" id="{499F8FB3-24AB-BD3C-9410-5F69FC53E2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60221" y="3386817"/>
            <a:ext cx="2257424" cy="128995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38EC7A0F-A324-B08A-6F31-CB3CB6BA77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4356" y="3555074"/>
            <a:ext cx="2257426" cy="135731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8038642-9526-D488-1F63-D7CFDAE936DF}"/>
              </a:ext>
            </a:extLst>
          </p:cNvPr>
          <p:cNvSpPr txBox="1"/>
          <p:nvPr/>
        </p:nvSpPr>
        <p:spPr>
          <a:xfrm>
            <a:off x="8482104" y="704512"/>
            <a:ext cx="916055" cy="769441"/>
          </a:xfrm>
          <a:prstGeom prst="rect">
            <a:avLst/>
          </a:prstGeom>
          <a:noFill/>
        </p:spPr>
        <p:txBody>
          <a:bodyPr wrap="square">
            <a:spAutoFit/>
          </a:bodyPr>
          <a:lstStyle/>
          <a:p>
            <a:pPr algn="ctr"/>
            <a:r>
              <a:rPr lang="en-US" sz="4400">
                <a:solidFill>
                  <a:schemeClr val="bg1"/>
                </a:solidFill>
              </a:rPr>
              <a:t>3</a:t>
            </a:r>
          </a:p>
        </p:txBody>
      </p:sp>
    </p:spTree>
    <p:extLst>
      <p:ext uri="{BB962C8B-B14F-4D97-AF65-F5344CB8AC3E}">
        <p14:creationId xmlns:p14="http://schemas.microsoft.com/office/powerpoint/2010/main" val="22221065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2" name="Picture 10">
            <a:extLst>
              <a:ext uri="{FF2B5EF4-FFF2-40B4-BE49-F238E27FC236}">
                <a16:creationId xmlns:a16="http://schemas.microsoft.com/office/drawing/2014/main" id="{C791783D-8ACD-037B-86DA-9B4854EB38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0725" y="4023725"/>
            <a:ext cx="1905000" cy="1714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65348" y="1758732"/>
            <a:ext cx="9632553" cy="614261"/>
          </a:xfrm>
        </p:spPr>
        <p:txBody>
          <a:bodyPr/>
          <a:lstStyle/>
          <a:p>
            <a:r>
              <a:rPr lang="en-US"/>
              <a:t>Marken, deren Fundament auf ihrer Ethik und Nachhaltigkeit beruh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Wertebasiert</a:t>
            </a:r>
          </a:p>
          <a:p>
            <a:endParaRPr lang="en-US"/>
          </a:p>
        </p:txBody>
      </p:sp>
      <p:sp>
        <p:nvSpPr>
          <p:cNvPr id="3" name="Oval 2">
            <a:extLst>
              <a:ext uri="{FF2B5EF4-FFF2-40B4-BE49-F238E27FC236}">
                <a16:creationId xmlns:a16="http://schemas.microsoft.com/office/drawing/2014/main" id="{1E44C1FD-7676-3D5C-1BA7-C2628947D62A}"/>
              </a:ext>
            </a:extLst>
          </p:cNvPr>
          <p:cNvSpPr/>
          <p:nvPr/>
        </p:nvSpPr>
        <p:spPr>
          <a:xfrm>
            <a:off x="8482104" y="688295"/>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a:off x="8944811" y="811962"/>
            <a:ext cx="0" cy="4926263"/>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761603"/>
            <a:ext cx="916055" cy="769441"/>
          </a:xfrm>
          <a:prstGeom prst="rect">
            <a:avLst/>
          </a:prstGeom>
          <a:noFill/>
        </p:spPr>
        <p:txBody>
          <a:bodyPr wrap="square">
            <a:spAutoFit/>
          </a:bodyPr>
          <a:lstStyle/>
          <a:p>
            <a:pPr algn="ctr"/>
            <a:r>
              <a:rPr lang="en-US" sz="4400" dirty="0">
                <a:solidFill>
                  <a:schemeClr val="bg1"/>
                </a:solidFill>
              </a:rPr>
              <a:t>4</a:t>
            </a:r>
          </a:p>
        </p:txBody>
      </p:sp>
      <p:pic>
        <p:nvPicPr>
          <p:cNvPr id="3078" name="Picture 6" descr="View large size Patagonia Flying Fish Logo Clipart. This Png image is ...">
            <a:extLst>
              <a:ext uri="{FF2B5EF4-FFF2-40B4-BE49-F238E27FC236}">
                <a16:creationId xmlns:a16="http://schemas.microsoft.com/office/drawing/2014/main" id="{77DAE1F1-C02D-2CB8-429C-FBBBF9C44E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8280" y="3762524"/>
            <a:ext cx="2626380" cy="202932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91481ED9-6816-4062-AC50-7CB1F753249A}"/>
              </a:ext>
            </a:extLst>
          </p:cNvPr>
          <p:cNvPicPr>
            <a:picLocks noChangeAspect="1"/>
          </p:cNvPicPr>
          <p:nvPr/>
        </p:nvPicPr>
        <p:blipFill>
          <a:blip r:embed="rId4"/>
          <a:stretch>
            <a:fillRect/>
          </a:stretch>
        </p:blipFill>
        <p:spPr>
          <a:xfrm>
            <a:off x="112295" y="2502568"/>
            <a:ext cx="2951748" cy="1660358"/>
          </a:xfrm>
          <a:prstGeom prst="rect">
            <a:avLst/>
          </a:prstGeom>
        </p:spPr>
      </p:pic>
      <p:pic>
        <p:nvPicPr>
          <p:cNvPr id="10" name="Picture 9">
            <a:extLst>
              <a:ext uri="{FF2B5EF4-FFF2-40B4-BE49-F238E27FC236}">
                <a16:creationId xmlns:a16="http://schemas.microsoft.com/office/drawing/2014/main" id="{4150A6E0-4F50-A758-6FF0-92B89BE554CA}"/>
              </a:ext>
            </a:extLst>
          </p:cNvPr>
          <p:cNvPicPr>
            <a:picLocks noChangeAspect="1"/>
          </p:cNvPicPr>
          <p:nvPr/>
        </p:nvPicPr>
        <p:blipFill>
          <a:blip r:embed="rId5"/>
          <a:stretch>
            <a:fillRect/>
          </a:stretch>
        </p:blipFill>
        <p:spPr>
          <a:xfrm>
            <a:off x="3247190" y="2502568"/>
            <a:ext cx="1783613" cy="1851345"/>
          </a:xfrm>
          <a:prstGeom prst="rect">
            <a:avLst/>
          </a:prstGeom>
        </p:spPr>
      </p:pic>
      <p:pic>
        <p:nvPicPr>
          <p:cNvPr id="3080" name="Picture 8" descr="See related image detail. PTT Logo / Oil and Energy / Logonoid.com">
            <a:extLst>
              <a:ext uri="{FF2B5EF4-FFF2-40B4-BE49-F238E27FC236}">
                <a16:creationId xmlns:a16="http://schemas.microsoft.com/office/drawing/2014/main" id="{30BBA670-BADC-EA83-C6D5-54012BEF63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08944" y="4106690"/>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Dr. Hauschka logo transparent PNG - StickPNG">
            <a:extLst>
              <a:ext uri="{FF2B5EF4-FFF2-40B4-BE49-F238E27FC236}">
                <a16:creationId xmlns:a16="http://schemas.microsoft.com/office/drawing/2014/main" id="{79B2A7E4-0C72-9BA4-43CA-549D54FAA6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73864" y="2502568"/>
            <a:ext cx="2670334"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9146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E7B06C-B088-3E46-201D-ED28F62BBA35}"/>
              </a:ext>
            </a:extLst>
          </p:cNvPr>
          <p:cNvSpPr>
            <a:spLocks noGrp="1"/>
          </p:cNvSpPr>
          <p:nvPr>
            <p:ph type="body" sz="quarter" idx="18"/>
          </p:nvPr>
        </p:nvSpPr>
        <p:spPr>
          <a:xfrm>
            <a:off x="898358" y="2042655"/>
            <a:ext cx="4867011" cy="3291086"/>
          </a:xfrm>
        </p:spPr>
        <p:txBody>
          <a:bodyPr/>
          <a:lstStyle/>
          <a:p>
            <a:r>
              <a:rPr lang="en-GB" dirty="0"/>
              <a:t>Welche Markenfarben werden Sie wählen?</a:t>
            </a:r>
          </a:p>
          <a:p>
            <a:pPr marL="0" indent="0"/>
            <a:r>
              <a:rPr lang="en-GB" dirty="0"/>
              <a:t>Wussten Sie, dass hinter der klugen Wahl von Farben eine Wissenschaft steckt?</a:t>
            </a:r>
          </a:p>
          <a:p>
            <a:endParaRPr lang="en-GB" dirty="0"/>
          </a:p>
          <a:p>
            <a:pPr marL="0" indent="0"/>
            <a:r>
              <a:rPr lang="en-GB" dirty="0"/>
              <a:t>READ - Was sagen Ihre Markenfarben über Ihr Unternehmen aus? </a:t>
            </a:r>
            <a:endParaRPr lang="en-IE" dirty="0"/>
          </a:p>
        </p:txBody>
      </p:sp>
      <p:sp>
        <p:nvSpPr>
          <p:cNvPr id="3" name="Text Placeholder 2">
            <a:extLst>
              <a:ext uri="{FF2B5EF4-FFF2-40B4-BE49-F238E27FC236}">
                <a16:creationId xmlns:a16="http://schemas.microsoft.com/office/drawing/2014/main" id="{3781C06E-8F5A-2A8C-2229-A6C0E5CB8C57}"/>
              </a:ext>
            </a:extLst>
          </p:cNvPr>
          <p:cNvSpPr>
            <a:spLocks noGrp="1"/>
          </p:cNvSpPr>
          <p:nvPr>
            <p:ph type="body" sz="quarter" idx="16"/>
          </p:nvPr>
        </p:nvSpPr>
        <p:spPr/>
        <p:txBody>
          <a:bodyPr/>
          <a:lstStyle/>
          <a:p>
            <a:r>
              <a:rPr lang="en-GB"/>
              <a:t>Achten Sie auf die Details!</a:t>
            </a:r>
            <a:endParaRPr lang="en-IE"/>
          </a:p>
        </p:txBody>
      </p:sp>
      <p:pic>
        <p:nvPicPr>
          <p:cNvPr id="6" name="Picture Placeholder 5">
            <a:hlinkClick r:id="rId2"/>
            <a:extLst>
              <a:ext uri="{FF2B5EF4-FFF2-40B4-BE49-F238E27FC236}">
                <a16:creationId xmlns:a16="http://schemas.microsoft.com/office/drawing/2014/main" id="{1212B3DB-8CE8-CC49-8DDB-B4AEA5AA7D52}"/>
              </a:ext>
            </a:extLst>
          </p:cNvPr>
          <p:cNvPicPr>
            <a:picLocks noGrp="1" noChangeAspect="1"/>
          </p:cNvPicPr>
          <p:nvPr>
            <p:ph type="pic" sz="quarter" idx="10"/>
          </p:nvPr>
        </p:nvPicPr>
        <p:blipFill>
          <a:blip r:embed="rId3"/>
          <a:srcRect l="16475" r="16475"/>
          <a:stretch>
            <a:fillRect/>
          </a:stretch>
        </p:blipFill>
        <p:spPr/>
      </p:pic>
      <p:sp>
        <p:nvSpPr>
          <p:cNvPr id="7" name="Oval 6">
            <a:hlinkClick r:id="rId2"/>
            <a:extLst>
              <a:ext uri="{FF2B5EF4-FFF2-40B4-BE49-F238E27FC236}">
                <a16:creationId xmlns:a16="http://schemas.microsoft.com/office/drawing/2014/main" id="{63CCAAE2-97D3-5849-D8DC-4B657C18F4C2}"/>
              </a:ext>
            </a:extLst>
          </p:cNvPr>
          <p:cNvSpPr/>
          <p:nvPr/>
        </p:nvSpPr>
        <p:spPr>
          <a:xfrm>
            <a:off x="5889356" y="3751522"/>
            <a:ext cx="1685925" cy="1685925"/>
          </a:xfrm>
          <a:prstGeom prst="ellipse">
            <a:avLst/>
          </a:prstGeom>
          <a:solidFill>
            <a:srgbClr val="DE0A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a:solidFill>
                  <a:schemeClr val="bg1"/>
                </a:solidFill>
              </a:rPr>
              <a:t>ZUM ANSEHEN KLICKEN</a:t>
            </a:r>
          </a:p>
        </p:txBody>
      </p:sp>
      <p:grpSp>
        <p:nvGrpSpPr>
          <p:cNvPr id="8" name="Google Shape;612;p39">
            <a:extLst>
              <a:ext uri="{FF2B5EF4-FFF2-40B4-BE49-F238E27FC236}">
                <a16:creationId xmlns:a16="http://schemas.microsoft.com/office/drawing/2014/main" id="{4D859F70-1304-046B-2672-12313B9EE99B}"/>
              </a:ext>
            </a:extLst>
          </p:cNvPr>
          <p:cNvGrpSpPr/>
          <p:nvPr/>
        </p:nvGrpSpPr>
        <p:grpSpPr>
          <a:xfrm>
            <a:off x="6505805" y="4795520"/>
            <a:ext cx="453026" cy="462520"/>
            <a:chOff x="3951850" y="2985350"/>
            <a:chExt cx="407950" cy="416500"/>
          </a:xfrm>
        </p:grpSpPr>
        <p:sp>
          <p:nvSpPr>
            <p:cNvPr id="9" name="Google Shape;613;p39">
              <a:extLst>
                <a:ext uri="{FF2B5EF4-FFF2-40B4-BE49-F238E27FC236}">
                  <a16:creationId xmlns:a16="http://schemas.microsoft.com/office/drawing/2014/main" id="{A82ADDCC-86C6-9144-442B-C8EB8AFCB8A0}"/>
                </a:ext>
              </a:extLst>
            </p:cNvPr>
            <p:cNvSpPr/>
            <p:nvPr/>
          </p:nvSpPr>
          <p:spPr>
            <a:xfrm>
              <a:off x="3951850" y="2985350"/>
              <a:ext cx="314800" cy="314825"/>
            </a:xfrm>
            <a:custGeom>
              <a:avLst/>
              <a:gdLst/>
              <a:ahLst/>
              <a:cxnLst/>
              <a:rect l="l" t="t" r="r" b="b"/>
              <a:pathLst>
                <a:path w="12592" h="12593" fill="none" extrusionOk="0">
                  <a:moveTo>
                    <a:pt x="6284" y="1"/>
                  </a:moveTo>
                  <a:lnTo>
                    <a:pt x="6284" y="1"/>
                  </a:lnTo>
                  <a:lnTo>
                    <a:pt x="5967" y="25"/>
                  </a:lnTo>
                  <a:lnTo>
                    <a:pt x="5651" y="49"/>
                  </a:lnTo>
                  <a:lnTo>
                    <a:pt x="5334" y="74"/>
                  </a:lnTo>
                  <a:lnTo>
                    <a:pt x="5017" y="147"/>
                  </a:lnTo>
                  <a:lnTo>
                    <a:pt x="4725" y="220"/>
                  </a:lnTo>
                  <a:lnTo>
                    <a:pt x="4433" y="293"/>
                  </a:lnTo>
                  <a:lnTo>
                    <a:pt x="4141" y="390"/>
                  </a:lnTo>
                  <a:lnTo>
                    <a:pt x="3848" y="512"/>
                  </a:lnTo>
                  <a:lnTo>
                    <a:pt x="3556" y="634"/>
                  </a:lnTo>
                  <a:lnTo>
                    <a:pt x="3288" y="780"/>
                  </a:lnTo>
                  <a:lnTo>
                    <a:pt x="3020" y="926"/>
                  </a:lnTo>
                  <a:lnTo>
                    <a:pt x="2777" y="1072"/>
                  </a:lnTo>
                  <a:lnTo>
                    <a:pt x="2290" y="1437"/>
                  </a:lnTo>
                  <a:lnTo>
                    <a:pt x="1851" y="1852"/>
                  </a:lnTo>
                  <a:lnTo>
                    <a:pt x="1437" y="2290"/>
                  </a:lnTo>
                  <a:lnTo>
                    <a:pt x="1072" y="2777"/>
                  </a:lnTo>
                  <a:lnTo>
                    <a:pt x="901" y="3045"/>
                  </a:lnTo>
                  <a:lnTo>
                    <a:pt x="755" y="3313"/>
                  </a:lnTo>
                  <a:lnTo>
                    <a:pt x="609" y="3581"/>
                  </a:lnTo>
                  <a:lnTo>
                    <a:pt x="487" y="3849"/>
                  </a:lnTo>
                  <a:lnTo>
                    <a:pt x="390" y="4141"/>
                  </a:lnTo>
                  <a:lnTo>
                    <a:pt x="292" y="4433"/>
                  </a:lnTo>
                  <a:lnTo>
                    <a:pt x="195" y="4725"/>
                  </a:lnTo>
                  <a:lnTo>
                    <a:pt x="122" y="5042"/>
                  </a:lnTo>
                  <a:lnTo>
                    <a:pt x="73" y="5334"/>
                  </a:lnTo>
                  <a:lnTo>
                    <a:pt x="25" y="5651"/>
                  </a:lnTo>
                  <a:lnTo>
                    <a:pt x="0" y="5968"/>
                  </a:lnTo>
                  <a:lnTo>
                    <a:pt x="0" y="6308"/>
                  </a:lnTo>
                  <a:lnTo>
                    <a:pt x="0" y="6308"/>
                  </a:lnTo>
                  <a:lnTo>
                    <a:pt x="0" y="6625"/>
                  </a:lnTo>
                  <a:lnTo>
                    <a:pt x="25" y="6942"/>
                  </a:lnTo>
                  <a:lnTo>
                    <a:pt x="73" y="7258"/>
                  </a:lnTo>
                  <a:lnTo>
                    <a:pt x="122" y="7575"/>
                  </a:lnTo>
                  <a:lnTo>
                    <a:pt x="195" y="7867"/>
                  </a:lnTo>
                  <a:lnTo>
                    <a:pt x="292" y="8184"/>
                  </a:lnTo>
                  <a:lnTo>
                    <a:pt x="390" y="8476"/>
                  </a:lnTo>
                  <a:lnTo>
                    <a:pt x="487" y="8744"/>
                  </a:lnTo>
                  <a:lnTo>
                    <a:pt x="609" y="9036"/>
                  </a:lnTo>
                  <a:lnTo>
                    <a:pt x="755" y="9304"/>
                  </a:lnTo>
                  <a:lnTo>
                    <a:pt x="901" y="9572"/>
                  </a:lnTo>
                  <a:lnTo>
                    <a:pt x="1072" y="9816"/>
                  </a:lnTo>
                  <a:lnTo>
                    <a:pt x="1437" y="10303"/>
                  </a:lnTo>
                  <a:lnTo>
                    <a:pt x="1851" y="10741"/>
                  </a:lnTo>
                  <a:lnTo>
                    <a:pt x="2290" y="11155"/>
                  </a:lnTo>
                  <a:lnTo>
                    <a:pt x="2777" y="11520"/>
                  </a:lnTo>
                  <a:lnTo>
                    <a:pt x="3020" y="11691"/>
                  </a:lnTo>
                  <a:lnTo>
                    <a:pt x="3288" y="11837"/>
                  </a:lnTo>
                  <a:lnTo>
                    <a:pt x="3556" y="11983"/>
                  </a:lnTo>
                  <a:lnTo>
                    <a:pt x="3848" y="12105"/>
                  </a:lnTo>
                  <a:lnTo>
                    <a:pt x="4141" y="12202"/>
                  </a:lnTo>
                  <a:lnTo>
                    <a:pt x="4433" y="12300"/>
                  </a:lnTo>
                  <a:lnTo>
                    <a:pt x="4725" y="12397"/>
                  </a:lnTo>
                  <a:lnTo>
                    <a:pt x="5017" y="12470"/>
                  </a:lnTo>
                  <a:lnTo>
                    <a:pt x="5334" y="12519"/>
                  </a:lnTo>
                  <a:lnTo>
                    <a:pt x="5651" y="12568"/>
                  </a:lnTo>
                  <a:lnTo>
                    <a:pt x="5967" y="12592"/>
                  </a:lnTo>
                  <a:lnTo>
                    <a:pt x="6284" y="12592"/>
                  </a:lnTo>
                  <a:lnTo>
                    <a:pt x="6284" y="12592"/>
                  </a:lnTo>
                  <a:lnTo>
                    <a:pt x="6625" y="12592"/>
                  </a:lnTo>
                  <a:lnTo>
                    <a:pt x="6941" y="12568"/>
                  </a:lnTo>
                  <a:lnTo>
                    <a:pt x="7258" y="12519"/>
                  </a:lnTo>
                  <a:lnTo>
                    <a:pt x="7550" y="12470"/>
                  </a:lnTo>
                  <a:lnTo>
                    <a:pt x="7867" y="12397"/>
                  </a:lnTo>
                  <a:lnTo>
                    <a:pt x="8159" y="12300"/>
                  </a:lnTo>
                  <a:lnTo>
                    <a:pt x="8451" y="12202"/>
                  </a:lnTo>
                  <a:lnTo>
                    <a:pt x="8744" y="12105"/>
                  </a:lnTo>
                  <a:lnTo>
                    <a:pt x="9012" y="11983"/>
                  </a:lnTo>
                  <a:lnTo>
                    <a:pt x="9279" y="11837"/>
                  </a:lnTo>
                  <a:lnTo>
                    <a:pt x="9547" y="11691"/>
                  </a:lnTo>
                  <a:lnTo>
                    <a:pt x="9815" y="11520"/>
                  </a:lnTo>
                  <a:lnTo>
                    <a:pt x="10302" y="11155"/>
                  </a:lnTo>
                  <a:lnTo>
                    <a:pt x="10741" y="10741"/>
                  </a:lnTo>
                  <a:lnTo>
                    <a:pt x="11155" y="10303"/>
                  </a:lnTo>
                  <a:lnTo>
                    <a:pt x="11520" y="9816"/>
                  </a:lnTo>
                  <a:lnTo>
                    <a:pt x="11666" y="9572"/>
                  </a:lnTo>
                  <a:lnTo>
                    <a:pt x="11812" y="9304"/>
                  </a:lnTo>
                  <a:lnTo>
                    <a:pt x="11958" y="9036"/>
                  </a:lnTo>
                  <a:lnTo>
                    <a:pt x="12080" y="8744"/>
                  </a:lnTo>
                  <a:lnTo>
                    <a:pt x="12202" y="8476"/>
                  </a:lnTo>
                  <a:lnTo>
                    <a:pt x="12299" y="8184"/>
                  </a:lnTo>
                  <a:lnTo>
                    <a:pt x="12397" y="7867"/>
                  </a:lnTo>
                  <a:lnTo>
                    <a:pt x="12446" y="7575"/>
                  </a:lnTo>
                  <a:lnTo>
                    <a:pt x="12519" y="7258"/>
                  </a:lnTo>
                  <a:lnTo>
                    <a:pt x="12543" y="6942"/>
                  </a:lnTo>
                  <a:lnTo>
                    <a:pt x="12567" y="6625"/>
                  </a:lnTo>
                  <a:lnTo>
                    <a:pt x="12592" y="6308"/>
                  </a:lnTo>
                  <a:lnTo>
                    <a:pt x="12592" y="6308"/>
                  </a:lnTo>
                  <a:lnTo>
                    <a:pt x="12567" y="5968"/>
                  </a:lnTo>
                  <a:lnTo>
                    <a:pt x="12543" y="5651"/>
                  </a:lnTo>
                  <a:lnTo>
                    <a:pt x="12519" y="5334"/>
                  </a:lnTo>
                  <a:lnTo>
                    <a:pt x="12446" y="5042"/>
                  </a:lnTo>
                  <a:lnTo>
                    <a:pt x="12397" y="4725"/>
                  </a:lnTo>
                  <a:lnTo>
                    <a:pt x="12299" y="4433"/>
                  </a:lnTo>
                  <a:lnTo>
                    <a:pt x="12202" y="4141"/>
                  </a:lnTo>
                  <a:lnTo>
                    <a:pt x="12080" y="3849"/>
                  </a:lnTo>
                  <a:lnTo>
                    <a:pt x="11958" y="3581"/>
                  </a:lnTo>
                  <a:lnTo>
                    <a:pt x="11812" y="3313"/>
                  </a:lnTo>
                  <a:lnTo>
                    <a:pt x="11666" y="3045"/>
                  </a:lnTo>
                  <a:lnTo>
                    <a:pt x="11520" y="2777"/>
                  </a:lnTo>
                  <a:lnTo>
                    <a:pt x="11155" y="2290"/>
                  </a:lnTo>
                  <a:lnTo>
                    <a:pt x="10741" y="1852"/>
                  </a:lnTo>
                  <a:lnTo>
                    <a:pt x="10302" y="1437"/>
                  </a:lnTo>
                  <a:lnTo>
                    <a:pt x="9815" y="1072"/>
                  </a:lnTo>
                  <a:lnTo>
                    <a:pt x="9547" y="926"/>
                  </a:lnTo>
                  <a:lnTo>
                    <a:pt x="9279" y="780"/>
                  </a:lnTo>
                  <a:lnTo>
                    <a:pt x="9012" y="634"/>
                  </a:lnTo>
                  <a:lnTo>
                    <a:pt x="8744" y="512"/>
                  </a:lnTo>
                  <a:lnTo>
                    <a:pt x="8451" y="390"/>
                  </a:lnTo>
                  <a:lnTo>
                    <a:pt x="8159" y="293"/>
                  </a:lnTo>
                  <a:lnTo>
                    <a:pt x="7867" y="220"/>
                  </a:lnTo>
                  <a:lnTo>
                    <a:pt x="7550" y="147"/>
                  </a:lnTo>
                  <a:lnTo>
                    <a:pt x="7258" y="74"/>
                  </a:lnTo>
                  <a:lnTo>
                    <a:pt x="6941" y="49"/>
                  </a:lnTo>
                  <a:lnTo>
                    <a:pt x="6625" y="25"/>
                  </a:lnTo>
                  <a:lnTo>
                    <a:pt x="6284" y="1"/>
                  </a:lnTo>
                  <a:lnTo>
                    <a:pt x="6284" y="1"/>
                  </a:lnTo>
                  <a:close/>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14;p39">
              <a:extLst>
                <a:ext uri="{FF2B5EF4-FFF2-40B4-BE49-F238E27FC236}">
                  <a16:creationId xmlns:a16="http://schemas.microsoft.com/office/drawing/2014/main" id="{0FE65E77-70D0-95EB-E05C-FCD8FB3436F5}"/>
                </a:ext>
              </a:extLst>
            </p:cNvPr>
            <p:cNvSpPr/>
            <p:nvPr/>
          </p:nvSpPr>
          <p:spPr>
            <a:xfrm>
              <a:off x="3988375" y="3021875"/>
              <a:ext cx="241750" cy="241750"/>
            </a:xfrm>
            <a:custGeom>
              <a:avLst/>
              <a:gdLst/>
              <a:ahLst/>
              <a:cxnLst/>
              <a:rect l="l" t="t" r="r" b="b"/>
              <a:pathLst>
                <a:path w="9670" h="9670" fill="none" extrusionOk="0">
                  <a:moveTo>
                    <a:pt x="4823" y="1"/>
                  </a:moveTo>
                  <a:lnTo>
                    <a:pt x="4823" y="1"/>
                  </a:lnTo>
                  <a:lnTo>
                    <a:pt x="4336" y="25"/>
                  </a:lnTo>
                  <a:lnTo>
                    <a:pt x="3849" y="98"/>
                  </a:lnTo>
                  <a:lnTo>
                    <a:pt x="3386" y="220"/>
                  </a:lnTo>
                  <a:lnTo>
                    <a:pt x="2947" y="391"/>
                  </a:lnTo>
                  <a:lnTo>
                    <a:pt x="2533" y="585"/>
                  </a:lnTo>
                  <a:lnTo>
                    <a:pt x="2144" y="829"/>
                  </a:lnTo>
                  <a:lnTo>
                    <a:pt x="1754" y="1121"/>
                  </a:lnTo>
                  <a:lnTo>
                    <a:pt x="1413" y="1438"/>
                  </a:lnTo>
                  <a:lnTo>
                    <a:pt x="1096" y="1779"/>
                  </a:lnTo>
                  <a:lnTo>
                    <a:pt x="829" y="2144"/>
                  </a:lnTo>
                  <a:lnTo>
                    <a:pt x="585" y="2534"/>
                  </a:lnTo>
                  <a:lnTo>
                    <a:pt x="390" y="2972"/>
                  </a:lnTo>
                  <a:lnTo>
                    <a:pt x="220" y="3411"/>
                  </a:lnTo>
                  <a:lnTo>
                    <a:pt x="98" y="3873"/>
                  </a:lnTo>
                  <a:lnTo>
                    <a:pt x="25" y="4336"/>
                  </a:lnTo>
                  <a:lnTo>
                    <a:pt x="1" y="4847"/>
                  </a:lnTo>
                  <a:lnTo>
                    <a:pt x="1" y="4847"/>
                  </a:lnTo>
                  <a:lnTo>
                    <a:pt x="25" y="5335"/>
                  </a:lnTo>
                  <a:lnTo>
                    <a:pt x="98" y="5822"/>
                  </a:lnTo>
                  <a:lnTo>
                    <a:pt x="220" y="6284"/>
                  </a:lnTo>
                  <a:lnTo>
                    <a:pt x="390" y="6723"/>
                  </a:lnTo>
                  <a:lnTo>
                    <a:pt x="585" y="7137"/>
                  </a:lnTo>
                  <a:lnTo>
                    <a:pt x="829" y="7527"/>
                  </a:lnTo>
                  <a:lnTo>
                    <a:pt x="1096" y="7916"/>
                  </a:lnTo>
                  <a:lnTo>
                    <a:pt x="1413" y="8257"/>
                  </a:lnTo>
                  <a:lnTo>
                    <a:pt x="1754" y="8574"/>
                  </a:lnTo>
                  <a:lnTo>
                    <a:pt x="2144" y="8842"/>
                  </a:lnTo>
                  <a:lnTo>
                    <a:pt x="2533" y="9085"/>
                  </a:lnTo>
                  <a:lnTo>
                    <a:pt x="2947" y="9280"/>
                  </a:lnTo>
                  <a:lnTo>
                    <a:pt x="3386" y="9451"/>
                  </a:lnTo>
                  <a:lnTo>
                    <a:pt x="3849" y="9572"/>
                  </a:lnTo>
                  <a:lnTo>
                    <a:pt x="4336" y="9645"/>
                  </a:lnTo>
                  <a:lnTo>
                    <a:pt x="4823" y="9670"/>
                  </a:lnTo>
                  <a:lnTo>
                    <a:pt x="4823" y="9670"/>
                  </a:lnTo>
                  <a:lnTo>
                    <a:pt x="5334" y="9645"/>
                  </a:lnTo>
                  <a:lnTo>
                    <a:pt x="5797" y="9572"/>
                  </a:lnTo>
                  <a:lnTo>
                    <a:pt x="6260" y="9451"/>
                  </a:lnTo>
                  <a:lnTo>
                    <a:pt x="6698" y="9280"/>
                  </a:lnTo>
                  <a:lnTo>
                    <a:pt x="7136" y="9085"/>
                  </a:lnTo>
                  <a:lnTo>
                    <a:pt x="7526" y="8842"/>
                  </a:lnTo>
                  <a:lnTo>
                    <a:pt x="7892" y="8574"/>
                  </a:lnTo>
                  <a:lnTo>
                    <a:pt x="8232" y="8257"/>
                  </a:lnTo>
                  <a:lnTo>
                    <a:pt x="8549" y="7916"/>
                  </a:lnTo>
                  <a:lnTo>
                    <a:pt x="8841" y="7527"/>
                  </a:lnTo>
                  <a:lnTo>
                    <a:pt x="9085" y="7137"/>
                  </a:lnTo>
                  <a:lnTo>
                    <a:pt x="9280" y="6723"/>
                  </a:lnTo>
                  <a:lnTo>
                    <a:pt x="9450" y="6284"/>
                  </a:lnTo>
                  <a:lnTo>
                    <a:pt x="9572" y="5822"/>
                  </a:lnTo>
                  <a:lnTo>
                    <a:pt x="9645" y="5335"/>
                  </a:lnTo>
                  <a:lnTo>
                    <a:pt x="9669" y="4847"/>
                  </a:lnTo>
                  <a:lnTo>
                    <a:pt x="9669" y="4847"/>
                  </a:lnTo>
                  <a:lnTo>
                    <a:pt x="9645" y="4336"/>
                  </a:lnTo>
                  <a:lnTo>
                    <a:pt x="9572" y="3873"/>
                  </a:lnTo>
                  <a:lnTo>
                    <a:pt x="9450" y="3411"/>
                  </a:lnTo>
                  <a:lnTo>
                    <a:pt x="9280" y="2972"/>
                  </a:lnTo>
                  <a:lnTo>
                    <a:pt x="9085" y="2534"/>
                  </a:lnTo>
                  <a:lnTo>
                    <a:pt x="8841" y="2144"/>
                  </a:lnTo>
                  <a:lnTo>
                    <a:pt x="8549" y="1779"/>
                  </a:lnTo>
                  <a:lnTo>
                    <a:pt x="8232" y="1438"/>
                  </a:lnTo>
                  <a:lnTo>
                    <a:pt x="7892" y="1121"/>
                  </a:lnTo>
                  <a:lnTo>
                    <a:pt x="7526" y="829"/>
                  </a:lnTo>
                  <a:lnTo>
                    <a:pt x="7136" y="585"/>
                  </a:lnTo>
                  <a:lnTo>
                    <a:pt x="6698" y="391"/>
                  </a:lnTo>
                  <a:lnTo>
                    <a:pt x="6260" y="220"/>
                  </a:lnTo>
                  <a:lnTo>
                    <a:pt x="5797" y="98"/>
                  </a:lnTo>
                  <a:lnTo>
                    <a:pt x="5334" y="25"/>
                  </a:lnTo>
                  <a:lnTo>
                    <a:pt x="4823" y="1"/>
                  </a:lnTo>
                  <a:lnTo>
                    <a:pt x="482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15;p39">
              <a:extLst>
                <a:ext uri="{FF2B5EF4-FFF2-40B4-BE49-F238E27FC236}">
                  <a16:creationId xmlns:a16="http://schemas.microsoft.com/office/drawing/2014/main" id="{95D7DE42-2F74-F0CD-7380-910EC59B9EB1}"/>
                </a:ext>
              </a:extLst>
            </p:cNvPr>
            <p:cNvSpPr/>
            <p:nvPr/>
          </p:nvSpPr>
          <p:spPr>
            <a:xfrm>
              <a:off x="4024300" y="3058425"/>
              <a:ext cx="84650" cy="84650"/>
            </a:xfrm>
            <a:custGeom>
              <a:avLst/>
              <a:gdLst/>
              <a:ahLst/>
              <a:cxnLst/>
              <a:rect l="l" t="t" r="r" b="b"/>
              <a:pathLst>
                <a:path w="3386" h="3386" fill="none" extrusionOk="0">
                  <a:moveTo>
                    <a:pt x="0" y="3385"/>
                  </a:moveTo>
                  <a:lnTo>
                    <a:pt x="0" y="3385"/>
                  </a:lnTo>
                  <a:lnTo>
                    <a:pt x="25" y="3020"/>
                  </a:lnTo>
                  <a:lnTo>
                    <a:pt x="74" y="2704"/>
                  </a:lnTo>
                  <a:lnTo>
                    <a:pt x="147" y="2363"/>
                  </a:lnTo>
                  <a:lnTo>
                    <a:pt x="268" y="2070"/>
                  </a:lnTo>
                  <a:lnTo>
                    <a:pt x="414" y="1754"/>
                  </a:lnTo>
                  <a:lnTo>
                    <a:pt x="585" y="1486"/>
                  </a:lnTo>
                  <a:lnTo>
                    <a:pt x="780" y="1218"/>
                  </a:lnTo>
                  <a:lnTo>
                    <a:pt x="999" y="974"/>
                  </a:lnTo>
                  <a:lnTo>
                    <a:pt x="1243" y="755"/>
                  </a:lnTo>
                  <a:lnTo>
                    <a:pt x="1510" y="560"/>
                  </a:lnTo>
                  <a:lnTo>
                    <a:pt x="1778" y="390"/>
                  </a:lnTo>
                  <a:lnTo>
                    <a:pt x="2071" y="244"/>
                  </a:lnTo>
                  <a:lnTo>
                    <a:pt x="2387" y="146"/>
                  </a:lnTo>
                  <a:lnTo>
                    <a:pt x="2704" y="49"/>
                  </a:lnTo>
                  <a:lnTo>
                    <a:pt x="3045" y="0"/>
                  </a:lnTo>
                  <a:lnTo>
                    <a:pt x="3386"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16;p39">
              <a:extLst>
                <a:ext uri="{FF2B5EF4-FFF2-40B4-BE49-F238E27FC236}">
                  <a16:creationId xmlns:a16="http://schemas.microsoft.com/office/drawing/2014/main" id="{9783EE73-F9AE-A343-D307-62674AFC1690}"/>
                </a:ext>
              </a:extLst>
            </p:cNvPr>
            <p:cNvSpPr/>
            <p:nvPr/>
          </p:nvSpPr>
          <p:spPr>
            <a:xfrm>
              <a:off x="4205750" y="3248375"/>
              <a:ext cx="154050" cy="153475"/>
            </a:xfrm>
            <a:custGeom>
              <a:avLst/>
              <a:gdLst/>
              <a:ahLst/>
              <a:cxnLst/>
              <a:rect l="l" t="t" r="r" b="b"/>
              <a:pathLst>
                <a:path w="6162" h="6139" fill="none" extrusionOk="0">
                  <a:moveTo>
                    <a:pt x="0" y="1024"/>
                  </a:moveTo>
                  <a:lnTo>
                    <a:pt x="4969" y="5992"/>
                  </a:lnTo>
                  <a:lnTo>
                    <a:pt x="4969" y="5992"/>
                  </a:lnTo>
                  <a:lnTo>
                    <a:pt x="5042" y="6041"/>
                  </a:lnTo>
                  <a:lnTo>
                    <a:pt x="5115" y="6090"/>
                  </a:lnTo>
                  <a:lnTo>
                    <a:pt x="5212" y="6114"/>
                  </a:lnTo>
                  <a:lnTo>
                    <a:pt x="5310" y="6138"/>
                  </a:lnTo>
                  <a:lnTo>
                    <a:pt x="5407" y="6114"/>
                  </a:lnTo>
                  <a:lnTo>
                    <a:pt x="5480" y="6090"/>
                  </a:lnTo>
                  <a:lnTo>
                    <a:pt x="5577" y="6041"/>
                  </a:lnTo>
                  <a:lnTo>
                    <a:pt x="5651" y="5992"/>
                  </a:lnTo>
                  <a:lnTo>
                    <a:pt x="6016" y="5627"/>
                  </a:lnTo>
                  <a:lnTo>
                    <a:pt x="6016" y="5627"/>
                  </a:lnTo>
                  <a:lnTo>
                    <a:pt x="6089" y="5554"/>
                  </a:lnTo>
                  <a:lnTo>
                    <a:pt x="6138" y="5456"/>
                  </a:lnTo>
                  <a:lnTo>
                    <a:pt x="6162" y="5359"/>
                  </a:lnTo>
                  <a:lnTo>
                    <a:pt x="6162" y="5286"/>
                  </a:lnTo>
                  <a:lnTo>
                    <a:pt x="6162" y="5188"/>
                  </a:lnTo>
                  <a:lnTo>
                    <a:pt x="6138" y="5091"/>
                  </a:lnTo>
                  <a:lnTo>
                    <a:pt x="6089" y="5018"/>
                  </a:lnTo>
                  <a:lnTo>
                    <a:pt x="6016" y="4921"/>
                  </a:lnTo>
                  <a:lnTo>
                    <a:pt x="1072"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74945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F084FC-3258-D85A-43BB-B965692290C6}"/>
              </a:ext>
            </a:extLst>
          </p:cNvPr>
          <p:cNvSpPr>
            <a:spLocks noGrp="1"/>
          </p:cNvSpPr>
          <p:nvPr>
            <p:ph type="body" sz="quarter" idx="18"/>
          </p:nvPr>
        </p:nvSpPr>
        <p:spPr>
          <a:xfrm>
            <a:off x="914400" y="3310540"/>
            <a:ext cx="10479218" cy="2466610"/>
          </a:xfrm>
        </p:spPr>
        <p:txBody>
          <a:bodyPr/>
          <a:lstStyle/>
          <a:p>
            <a:pPr marL="342900" indent="-342900">
              <a:buFont typeface="Arial" panose="020B0604020202020204" pitchFamily="34" charset="0"/>
              <a:buChar char="•"/>
            </a:pPr>
            <a:r>
              <a:rPr lang="en-GB" sz="1800"/>
              <a:t>Erzählen Sie die Geschichte Ihres Unternehmens durch Bilder</a:t>
            </a:r>
          </a:p>
          <a:p>
            <a:pPr marL="342900" indent="-342900">
              <a:buFont typeface="Arial" panose="020B0604020202020204" pitchFamily="34" charset="0"/>
              <a:buChar char="•"/>
            </a:pPr>
            <a:r>
              <a:rPr lang="en-GB" sz="1800"/>
              <a:t>Fotos von Ihnen, Ihrer Leidenschaft, Ihren Fähigkeiten</a:t>
            </a:r>
          </a:p>
          <a:p>
            <a:pPr marL="342900" indent="-342900">
              <a:buFont typeface="Arial" panose="020B0604020202020204" pitchFamily="34" charset="0"/>
              <a:buChar char="•"/>
            </a:pPr>
            <a:r>
              <a:rPr lang="en-GB" sz="1800"/>
              <a:t>Fotos von Ihrem Produkt oder Ihrer Dienstleistung</a:t>
            </a:r>
          </a:p>
          <a:p>
            <a:pPr marL="342900" indent="-342900">
              <a:buFont typeface="Arial" panose="020B0604020202020204" pitchFamily="34" charset="0"/>
              <a:buChar char="•"/>
            </a:pPr>
            <a:r>
              <a:rPr lang="en-GB" sz="1800"/>
              <a:t>Schnipsel von der Arbeit hinter den Kulissen</a:t>
            </a:r>
          </a:p>
          <a:p>
            <a:pPr marL="342900" indent="-342900">
              <a:buFont typeface="Arial" panose="020B0604020202020204" pitchFamily="34" charset="0"/>
              <a:buChar char="•"/>
            </a:pPr>
            <a:r>
              <a:rPr lang="en-GB" sz="1800"/>
              <a:t>Was motiviert oder inspiriert Sie?</a:t>
            </a:r>
            <a:endParaRPr lang="en-IE" sz="1800"/>
          </a:p>
        </p:txBody>
      </p:sp>
      <p:sp>
        <p:nvSpPr>
          <p:cNvPr id="3" name="Text Placeholder 2">
            <a:extLst>
              <a:ext uri="{FF2B5EF4-FFF2-40B4-BE49-F238E27FC236}">
                <a16:creationId xmlns:a16="http://schemas.microsoft.com/office/drawing/2014/main" id="{1A4FD961-12C1-8FDD-9A7C-C29AC5C01515}"/>
              </a:ext>
            </a:extLst>
          </p:cNvPr>
          <p:cNvSpPr>
            <a:spLocks noGrp="1"/>
          </p:cNvSpPr>
          <p:nvPr>
            <p:ph type="body" sz="quarter" idx="16"/>
          </p:nvPr>
        </p:nvSpPr>
        <p:spPr>
          <a:xfrm>
            <a:off x="914400" y="452505"/>
            <a:ext cx="10595237" cy="803654"/>
          </a:xfrm>
        </p:spPr>
        <p:txBody>
          <a:bodyPr/>
          <a:lstStyle/>
          <a:p>
            <a:r>
              <a:rPr lang="en-GB" sz="2800">
                <a:solidFill>
                  <a:srgbClr val="DE0A1D"/>
                </a:solidFill>
              </a:rPr>
              <a:t>UNSER STORYBOARD "ERZÄHL DEINE GESCHICHTE" AUSFÜLLEN</a:t>
            </a:r>
            <a:endParaRPr lang="en-IE" sz="2800">
              <a:solidFill>
                <a:srgbClr val="DE0A1D"/>
              </a:solidFill>
            </a:endParaRPr>
          </a:p>
        </p:txBody>
      </p:sp>
      <p:sp>
        <p:nvSpPr>
          <p:cNvPr id="11" name="Oval 10">
            <a:hlinkClick r:id="rId2"/>
            <a:extLst>
              <a:ext uri="{FF2B5EF4-FFF2-40B4-BE49-F238E27FC236}">
                <a16:creationId xmlns:a16="http://schemas.microsoft.com/office/drawing/2014/main" id="{FA5D23EA-7C70-04A3-C941-4FA3FEAC57CE}"/>
              </a:ext>
            </a:extLst>
          </p:cNvPr>
          <p:cNvSpPr/>
          <p:nvPr/>
        </p:nvSpPr>
        <p:spPr>
          <a:xfrm>
            <a:off x="10195409" y="269337"/>
            <a:ext cx="1685925" cy="1685925"/>
          </a:xfrm>
          <a:prstGeom prst="ellipse">
            <a:avLst/>
          </a:prstGeom>
          <a:solidFill>
            <a:srgbClr val="DE0A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000" b="1">
              <a:solidFill>
                <a:schemeClr val="bg1"/>
              </a:solidFill>
            </a:endParaRPr>
          </a:p>
        </p:txBody>
      </p:sp>
      <p:grpSp>
        <p:nvGrpSpPr>
          <p:cNvPr id="4" name="Google Shape;518;p39">
            <a:extLst>
              <a:ext uri="{FF2B5EF4-FFF2-40B4-BE49-F238E27FC236}">
                <a16:creationId xmlns:a16="http://schemas.microsoft.com/office/drawing/2014/main" id="{57A7620B-EBA9-CAC6-EE60-D92110E6ACFC}"/>
              </a:ext>
            </a:extLst>
          </p:cNvPr>
          <p:cNvGrpSpPr/>
          <p:nvPr/>
        </p:nvGrpSpPr>
        <p:grpSpPr>
          <a:xfrm>
            <a:off x="10532051" y="552290"/>
            <a:ext cx="1002829" cy="1065396"/>
            <a:chOff x="1923675" y="1633650"/>
            <a:chExt cx="436000" cy="435975"/>
          </a:xfrm>
        </p:grpSpPr>
        <p:sp>
          <p:nvSpPr>
            <p:cNvPr id="5" name="Google Shape;519;p39">
              <a:extLst>
                <a:ext uri="{FF2B5EF4-FFF2-40B4-BE49-F238E27FC236}">
                  <a16:creationId xmlns:a16="http://schemas.microsoft.com/office/drawing/2014/main" id="{D29D9E61-8267-1A99-6AB9-94F3876BF533}"/>
                </a:ext>
              </a:extLst>
            </p:cNvPr>
            <p:cNvSpPr/>
            <p:nvPr/>
          </p:nvSpPr>
          <p:spPr>
            <a:xfrm>
              <a:off x="2209250" y="1633650"/>
              <a:ext cx="150425" cy="150425"/>
            </a:xfrm>
            <a:custGeom>
              <a:avLst/>
              <a:gdLst/>
              <a:ahLst/>
              <a:cxnLst/>
              <a:rect l="l" t="t" r="r" b="b"/>
              <a:pathLst>
                <a:path w="6017" h="6017" fill="none" extrusionOk="0">
                  <a:moveTo>
                    <a:pt x="5846" y="3605"/>
                  </a:moveTo>
                  <a:lnTo>
                    <a:pt x="2412" y="171"/>
                  </a:lnTo>
                  <a:lnTo>
                    <a:pt x="2412" y="171"/>
                  </a:lnTo>
                  <a:lnTo>
                    <a:pt x="2314" y="98"/>
                  </a:lnTo>
                  <a:lnTo>
                    <a:pt x="2217" y="49"/>
                  </a:lnTo>
                  <a:lnTo>
                    <a:pt x="2095" y="25"/>
                  </a:lnTo>
                  <a:lnTo>
                    <a:pt x="1997" y="1"/>
                  </a:lnTo>
                  <a:lnTo>
                    <a:pt x="1876" y="25"/>
                  </a:lnTo>
                  <a:lnTo>
                    <a:pt x="1778" y="49"/>
                  </a:lnTo>
                  <a:lnTo>
                    <a:pt x="1681" y="98"/>
                  </a:lnTo>
                  <a:lnTo>
                    <a:pt x="1583" y="171"/>
                  </a:lnTo>
                  <a:lnTo>
                    <a:pt x="0" y="1778"/>
                  </a:lnTo>
                  <a:lnTo>
                    <a:pt x="4238" y="6016"/>
                  </a:lnTo>
                  <a:lnTo>
                    <a:pt x="5846" y="4433"/>
                  </a:lnTo>
                  <a:lnTo>
                    <a:pt x="5846" y="4433"/>
                  </a:lnTo>
                  <a:lnTo>
                    <a:pt x="5919" y="4336"/>
                  </a:lnTo>
                  <a:lnTo>
                    <a:pt x="5967" y="4238"/>
                  </a:lnTo>
                  <a:lnTo>
                    <a:pt x="5992" y="4141"/>
                  </a:lnTo>
                  <a:lnTo>
                    <a:pt x="6016" y="4019"/>
                  </a:lnTo>
                  <a:lnTo>
                    <a:pt x="5992" y="3922"/>
                  </a:lnTo>
                  <a:lnTo>
                    <a:pt x="5967" y="3800"/>
                  </a:lnTo>
                  <a:lnTo>
                    <a:pt x="5919" y="3703"/>
                  </a:lnTo>
                  <a:lnTo>
                    <a:pt x="5846" y="3605"/>
                  </a:lnTo>
                  <a:lnTo>
                    <a:pt x="5846" y="3605"/>
                  </a:lnTo>
                  <a:close/>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520;p39">
              <a:extLst>
                <a:ext uri="{FF2B5EF4-FFF2-40B4-BE49-F238E27FC236}">
                  <a16:creationId xmlns:a16="http://schemas.microsoft.com/office/drawing/2014/main" id="{3C5772EA-327A-5B1E-0C3A-22E6923F7786}"/>
                </a:ext>
              </a:extLst>
            </p:cNvPr>
            <p:cNvSpPr/>
            <p:nvPr/>
          </p:nvSpPr>
          <p:spPr>
            <a:xfrm>
              <a:off x="2019900" y="1757250"/>
              <a:ext cx="261825" cy="261850"/>
            </a:xfrm>
            <a:custGeom>
              <a:avLst/>
              <a:gdLst/>
              <a:ahLst/>
              <a:cxnLst/>
              <a:rect l="l" t="t" r="r" b="b"/>
              <a:pathLst>
                <a:path w="10473" h="10474" fill="none" extrusionOk="0">
                  <a:moveTo>
                    <a:pt x="10473" y="1"/>
                  </a:moveTo>
                  <a:lnTo>
                    <a:pt x="0" y="10473"/>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521;p39">
              <a:extLst>
                <a:ext uri="{FF2B5EF4-FFF2-40B4-BE49-F238E27FC236}">
                  <a16:creationId xmlns:a16="http://schemas.microsoft.com/office/drawing/2014/main" id="{B63C206F-57C4-4DC1-C77E-105027C4C0CB}"/>
                </a:ext>
              </a:extLst>
            </p:cNvPr>
            <p:cNvSpPr/>
            <p:nvPr/>
          </p:nvSpPr>
          <p:spPr>
            <a:xfrm>
              <a:off x="1923675" y="1681150"/>
              <a:ext cx="388500" cy="388475"/>
            </a:xfrm>
            <a:custGeom>
              <a:avLst/>
              <a:gdLst/>
              <a:ahLst/>
              <a:cxnLst/>
              <a:rect l="l" t="t" r="r" b="b"/>
              <a:pathLst>
                <a:path w="15540" h="15539" fill="none" extrusionOk="0">
                  <a:moveTo>
                    <a:pt x="11277" y="0"/>
                  </a:moveTo>
                  <a:lnTo>
                    <a:pt x="756" y="10546"/>
                  </a:lnTo>
                  <a:lnTo>
                    <a:pt x="756" y="10546"/>
                  </a:lnTo>
                  <a:lnTo>
                    <a:pt x="683" y="10619"/>
                  </a:lnTo>
                  <a:lnTo>
                    <a:pt x="634" y="10692"/>
                  </a:lnTo>
                  <a:lnTo>
                    <a:pt x="610" y="10765"/>
                  </a:lnTo>
                  <a:lnTo>
                    <a:pt x="585" y="10863"/>
                  </a:lnTo>
                  <a:lnTo>
                    <a:pt x="1" y="14881"/>
                  </a:lnTo>
                  <a:lnTo>
                    <a:pt x="1" y="14881"/>
                  </a:lnTo>
                  <a:lnTo>
                    <a:pt x="1" y="15003"/>
                  </a:lnTo>
                  <a:lnTo>
                    <a:pt x="25" y="15149"/>
                  </a:lnTo>
                  <a:lnTo>
                    <a:pt x="98" y="15271"/>
                  </a:lnTo>
                  <a:lnTo>
                    <a:pt x="171" y="15368"/>
                  </a:lnTo>
                  <a:lnTo>
                    <a:pt x="171" y="15368"/>
                  </a:lnTo>
                  <a:lnTo>
                    <a:pt x="269" y="15441"/>
                  </a:lnTo>
                  <a:lnTo>
                    <a:pt x="366" y="15490"/>
                  </a:lnTo>
                  <a:lnTo>
                    <a:pt x="464" y="15514"/>
                  </a:lnTo>
                  <a:lnTo>
                    <a:pt x="585" y="15539"/>
                  </a:lnTo>
                  <a:lnTo>
                    <a:pt x="585" y="15539"/>
                  </a:lnTo>
                  <a:lnTo>
                    <a:pt x="659" y="15539"/>
                  </a:lnTo>
                  <a:lnTo>
                    <a:pt x="4677" y="14954"/>
                  </a:lnTo>
                  <a:lnTo>
                    <a:pt x="4677" y="14954"/>
                  </a:lnTo>
                  <a:lnTo>
                    <a:pt x="4848" y="14905"/>
                  </a:lnTo>
                  <a:lnTo>
                    <a:pt x="4921" y="14857"/>
                  </a:lnTo>
                  <a:lnTo>
                    <a:pt x="4994" y="14784"/>
                  </a:lnTo>
                  <a:lnTo>
                    <a:pt x="15539" y="426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522;p39">
              <a:extLst>
                <a:ext uri="{FF2B5EF4-FFF2-40B4-BE49-F238E27FC236}">
                  <a16:creationId xmlns:a16="http://schemas.microsoft.com/office/drawing/2014/main" id="{AA799434-3257-CDA2-0867-ADB7D9DF299C}"/>
                </a:ext>
              </a:extLst>
            </p:cNvPr>
            <p:cNvSpPr/>
            <p:nvPr/>
          </p:nvSpPr>
          <p:spPr>
            <a:xfrm>
              <a:off x="1974225" y="1711575"/>
              <a:ext cx="261825" cy="261850"/>
            </a:xfrm>
            <a:custGeom>
              <a:avLst/>
              <a:gdLst/>
              <a:ahLst/>
              <a:cxnLst/>
              <a:rect l="l" t="t" r="r" b="b"/>
              <a:pathLst>
                <a:path w="10473" h="10474" fill="none" extrusionOk="0">
                  <a:moveTo>
                    <a:pt x="0" y="10474"/>
                  </a:moveTo>
                  <a:lnTo>
                    <a:pt x="1047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523;p39">
              <a:extLst>
                <a:ext uri="{FF2B5EF4-FFF2-40B4-BE49-F238E27FC236}">
                  <a16:creationId xmlns:a16="http://schemas.microsoft.com/office/drawing/2014/main" id="{E7D53947-72CD-F903-94EE-0C3C5A8558F7}"/>
                </a:ext>
              </a:extLst>
            </p:cNvPr>
            <p:cNvSpPr/>
            <p:nvPr/>
          </p:nvSpPr>
          <p:spPr>
            <a:xfrm>
              <a:off x="1934650" y="2014200"/>
              <a:ext cx="44475" cy="44475"/>
            </a:xfrm>
            <a:custGeom>
              <a:avLst/>
              <a:gdLst/>
              <a:ahLst/>
              <a:cxnLst/>
              <a:rect l="l" t="t" r="r" b="b"/>
              <a:pathLst>
                <a:path w="1779" h="1779" fill="none" extrusionOk="0">
                  <a:moveTo>
                    <a:pt x="1778" y="1778"/>
                  </a:moveTo>
                  <a:lnTo>
                    <a:pt x="0"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524;p39">
              <a:extLst>
                <a:ext uri="{FF2B5EF4-FFF2-40B4-BE49-F238E27FC236}">
                  <a16:creationId xmlns:a16="http://schemas.microsoft.com/office/drawing/2014/main" id="{1FF2D1D0-65CA-2F56-D668-0378C6FD97DD}"/>
                </a:ext>
              </a:extLst>
            </p:cNvPr>
            <p:cNvSpPr/>
            <p:nvPr/>
          </p:nvSpPr>
          <p:spPr>
            <a:xfrm>
              <a:off x="1944375" y="1947225"/>
              <a:ext cx="101725" cy="101700"/>
            </a:xfrm>
            <a:custGeom>
              <a:avLst/>
              <a:gdLst/>
              <a:ahLst/>
              <a:cxnLst/>
              <a:rect l="l" t="t" r="r" b="b"/>
              <a:pathLst>
                <a:path w="4069" h="4068" fill="none" extrusionOk="0">
                  <a:moveTo>
                    <a:pt x="1" y="49"/>
                  </a:moveTo>
                  <a:lnTo>
                    <a:pt x="1" y="49"/>
                  </a:lnTo>
                  <a:lnTo>
                    <a:pt x="25" y="0"/>
                  </a:lnTo>
                  <a:lnTo>
                    <a:pt x="25" y="0"/>
                  </a:lnTo>
                  <a:lnTo>
                    <a:pt x="4068" y="4043"/>
                  </a:lnTo>
                  <a:lnTo>
                    <a:pt x="4068" y="4043"/>
                  </a:lnTo>
                  <a:lnTo>
                    <a:pt x="4068" y="4043"/>
                  </a:lnTo>
                  <a:lnTo>
                    <a:pt x="4020" y="4068"/>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2" name="Picture 11">
            <a:extLst>
              <a:ext uri="{FF2B5EF4-FFF2-40B4-BE49-F238E27FC236}">
                <a16:creationId xmlns:a16="http://schemas.microsoft.com/office/drawing/2014/main" id="{87C8D7D0-6E8A-F6E6-059F-4A2130C5BB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8433" y="1305160"/>
            <a:ext cx="6602850" cy="1031862"/>
          </a:xfrm>
          <a:prstGeom prst="rect">
            <a:avLst/>
          </a:prstGeom>
        </p:spPr>
      </p:pic>
      <p:sp>
        <p:nvSpPr>
          <p:cNvPr id="13" name="Text Placeholder 3">
            <a:extLst>
              <a:ext uri="{FF2B5EF4-FFF2-40B4-BE49-F238E27FC236}">
                <a16:creationId xmlns:a16="http://schemas.microsoft.com/office/drawing/2014/main" id="{9C524206-40A9-13D7-26C3-3B60B0705D9E}"/>
              </a:ext>
            </a:extLst>
          </p:cNvPr>
          <p:cNvSpPr txBox="1">
            <a:spLocks/>
          </p:cNvSpPr>
          <p:nvPr/>
        </p:nvSpPr>
        <p:spPr>
          <a:xfrm>
            <a:off x="643514" y="2718175"/>
            <a:ext cx="11438021" cy="890248"/>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bg1"/>
                </a:solidFill>
              </a:rPr>
              <a:t>DIESE ÜBUNG WIRD IHNEN HELFEN, IHRE MARKENGESCHICHTE ZU ENTWICKELN</a:t>
            </a:r>
          </a:p>
        </p:txBody>
      </p:sp>
    </p:spTree>
    <p:extLst>
      <p:ext uri="{BB962C8B-B14F-4D97-AF65-F5344CB8AC3E}">
        <p14:creationId xmlns:p14="http://schemas.microsoft.com/office/powerpoint/2010/main" val="32003599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Erstellen Sie Ihren Marketing-Werkzeugkasten</a:t>
            </a:r>
          </a:p>
          <a:p>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a:t>04</a:t>
            </a:r>
          </a:p>
        </p:txBody>
      </p:sp>
    </p:spTree>
    <p:extLst>
      <p:ext uri="{BB962C8B-B14F-4D97-AF65-F5344CB8AC3E}">
        <p14:creationId xmlns:p14="http://schemas.microsoft.com/office/powerpoint/2010/main" val="30308427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C07A00-1502-597A-D6FB-B997F3D9A82B}"/>
              </a:ext>
            </a:extLst>
          </p:cNvPr>
          <p:cNvSpPr>
            <a:spLocks noGrp="1"/>
          </p:cNvSpPr>
          <p:nvPr>
            <p:ph type="body" sz="quarter" idx="18"/>
          </p:nvPr>
        </p:nvSpPr>
        <p:spPr>
          <a:xfrm>
            <a:off x="914400" y="2169763"/>
            <a:ext cx="6913634" cy="3440624"/>
          </a:xfrm>
        </p:spPr>
        <p:txBody>
          <a:bodyPr lIns="91440" tIns="45720" rIns="91440" bIns="45720" anchor="t"/>
          <a:lstStyle/>
          <a:p>
            <a:r>
              <a:rPr lang="en-US" sz="2000" dirty="0">
                <a:cs typeface="Calibri"/>
              </a:rPr>
              <a:t>Was brauchen Sie in Ihrem Marketing-Werkzeugkasten?</a:t>
            </a:r>
          </a:p>
          <a:p>
            <a:pPr marL="342900" indent="-342900">
              <a:buChar char="•"/>
            </a:pPr>
            <a:r>
              <a:rPr lang="en-US" sz="2000" dirty="0">
                <a:cs typeface="Calibri"/>
              </a:rPr>
              <a:t>Eine Online-Präsenz - Lassen Sie sie für sich arbeiten</a:t>
            </a:r>
          </a:p>
          <a:p>
            <a:pPr marL="342900" indent="-342900">
              <a:buChar char="•"/>
            </a:pPr>
            <a:r>
              <a:rPr lang="en-US" sz="2000" dirty="0">
                <a:cs typeface="Calibri"/>
              </a:rPr>
              <a:t>Werbe- oder Marketingmaterial - ein wesentliches Element</a:t>
            </a:r>
          </a:p>
          <a:p>
            <a:pPr marL="342900" indent="-342900">
              <a:buChar char="•"/>
            </a:pPr>
            <a:r>
              <a:rPr lang="en-US" sz="2000" dirty="0">
                <a:cs typeface="Calibri"/>
              </a:rPr>
              <a:t>E-Mail-Marketing - ein leistungsstarkes datengesteuertes Instrument</a:t>
            </a:r>
          </a:p>
          <a:p>
            <a:pPr marL="342900" indent="-342900">
              <a:buChar char="•"/>
            </a:pPr>
            <a:r>
              <a:rPr lang="en-US" sz="2000" dirty="0">
                <a:cs typeface="Calibri"/>
              </a:rPr>
              <a:t>Starten Sie Ihr Unternehmen - Nutzen Sie die Gemeinschaft</a:t>
            </a:r>
          </a:p>
        </p:txBody>
      </p:sp>
      <p:sp>
        <p:nvSpPr>
          <p:cNvPr id="3" name="Text Placeholder 2">
            <a:extLst>
              <a:ext uri="{FF2B5EF4-FFF2-40B4-BE49-F238E27FC236}">
                <a16:creationId xmlns:a16="http://schemas.microsoft.com/office/drawing/2014/main" id="{BF1FE1BD-677B-B60B-1E59-F398787FF922}"/>
              </a:ext>
            </a:extLst>
          </p:cNvPr>
          <p:cNvSpPr>
            <a:spLocks noGrp="1"/>
          </p:cNvSpPr>
          <p:nvPr>
            <p:ph type="body" sz="quarter" idx="16"/>
          </p:nvPr>
        </p:nvSpPr>
        <p:spPr>
          <a:xfrm>
            <a:off x="141149" y="468321"/>
            <a:ext cx="10595237" cy="803654"/>
          </a:xfrm>
        </p:spPr>
        <p:txBody>
          <a:bodyPr/>
          <a:lstStyle/>
          <a:p>
            <a:endParaRPr lang="en-US" dirty="0"/>
          </a:p>
        </p:txBody>
      </p:sp>
      <p:sp>
        <p:nvSpPr>
          <p:cNvPr id="5" name="Freeform 10">
            <a:extLst>
              <a:ext uri="{FF2B5EF4-FFF2-40B4-BE49-F238E27FC236}">
                <a16:creationId xmlns:a16="http://schemas.microsoft.com/office/drawing/2014/main" id="{6ED5F72A-4FE8-781E-3302-234FD4420F71}"/>
              </a:ext>
            </a:extLst>
          </p:cNvPr>
          <p:cNvSpPr/>
          <p:nvPr/>
        </p:nvSpPr>
        <p:spPr>
          <a:xfrm>
            <a:off x="0" y="443959"/>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3600" dirty="0">
                <a:latin typeface="Calibri"/>
                <a:cs typeface="Calibri"/>
              </a:rPr>
              <a:t>Ihre </a:t>
            </a:r>
            <a:r>
              <a:rPr lang="en-US" sz="3600" dirty="0" err="1">
                <a:latin typeface="Calibri"/>
                <a:cs typeface="Calibri"/>
              </a:rPr>
              <a:t>Marketing-Toobox</a:t>
            </a:r>
            <a:endParaRPr lang="en-US" sz="3600" b="0" i="0" dirty="0">
              <a:latin typeface="Calibri" panose="020F0502020204030204" pitchFamily="34" charset="0"/>
            </a:endParaRPr>
          </a:p>
        </p:txBody>
      </p:sp>
      <p:sp>
        <p:nvSpPr>
          <p:cNvPr id="8" name="Oval 7">
            <a:extLst>
              <a:ext uri="{FF2B5EF4-FFF2-40B4-BE49-F238E27FC236}">
                <a16:creationId xmlns:a16="http://schemas.microsoft.com/office/drawing/2014/main" id="{F9925FB6-39F6-8812-F34C-E11A38DBE003}"/>
              </a:ext>
            </a:extLst>
          </p:cNvPr>
          <p:cNvSpPr/>
          <p:nvPr/>
        </p:nvSpPr>
        <p:spPr>
          <a:xfrm>
            <a:off x="7518816" y="1522263"/>
            <a:ext cx="1394790" cy="1394791"/>
          </a:xfrm>
          <a:prstGeom prst="ellipse">
            <a:avLst/>
          </a:prstGeom>
          <a:solidFill>
            <a:srgbClr val="FDBD2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Podcast outline">
            <a:extLst>
              <a:ext uri="{FF2B5EF4-FFF2-40B4-BE49-F238E27FC236}">
                <a16:creationId xmlns:a16="http://schemas.microsoft.com/office/drawing/2014/main" id="{C1BD24C9-B685-5C98-E68E-30F4D73FD2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59148" y="1762539"/>
            <a:ext cx="914400" cy="914400"/>
          </a:xfrm>
          <a:prstGeom prst="rect">
            <a:avLst/>
          </a:prstGeom>
        </p:spPr>
      </p:pic>
    </p:spTree>
    <p:extLst>
      <p:ext uri="{BB962C8B-B14F-4D97-AF65-F5344CB8AC3E}">
        <p14:creationId xmlns:p14="http://schemas.microsoft.com/office/powerpoint/2010/main" val="2971239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53273" y="809365"/>
            <a:ext cx="9192068" cy="3849918"/>
          </a:xfrm>
        </p:spPr>
        <p:txBody>
          <a:bodyPr/>
          <a:lstStyle/>
          <a:p>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553273" y="809365"/>
            <a:ext cx="9632553" cy="803654"/>
          </a:xfrm>
        </p:spPr>
        <p:txBody>
          <a:bodyPr/>
          <a:lstStyle/>
          <a:p>
            <a:r>
              <a:rPr lang="en-US" dirty="0">
                <a:solidFill>
                  <a:schemeClr val="bg1"/>
                </a:solidFill>
              </a:rPr>
              <a:t>Lernergebnisse </a:t>
            </a:r>
          </a:p>
          <a:p>
            <a:endParaRPr lang="en-US" dirty="0"/>
          </a:p>
          <a:p>
            <a:r>
              <a:rPr lang="en-US" sz="2400" b="1" dirty="0" err="1">
                <a:solidFill>
                  <a:srgbClr val="47B5C8"/>
                </a:solidFill>
              </a:rPr>
              <a:t>Verhalten</a:t>
            </a:r>
            <a:r>
              <a:rPr lang="en-US" sz="2400" b="1" dirty="0">
                <a:solidFill>
                  <a:srgbClr val="47B5C8"/>
                </a:solidFill>
              </a:rPr>
              <a:t>:</a:t>
            </a:r>
          </a:p>
          <a:p>
            <a:pPr marL="342900" indent="-342900">
              <a:buFont typeface="Arial" panose="020B0604020202020204" pitchFamily="34" charset="0"/>
              <a:buChar char="•"/>
            </a:pPr>
            <a:r>
              <a:rPr lang="en-GB" sz="2400" dirty="0"/>
              <a:t>Beweisen Sie Anpassungsfähigkeit, indem Sie Marketingstrategien auf der Grundlage von Marktfeedback und sich ändernden Marktbedingungen anpassen.</a:t>
            </a:r>
          </a:p>
          <a:p>
            <a:pPr marL="342900" indent="-342900">
              <a:buFont typeface="Arial" panose="020B0604020202020204" pitchFamily="34" charset="0"/>
              <a:buChar char="•"/>
            </a:pPr>
            <a:r>
              <a:rPr lang="en-GB" sz="2400" dirty="0"/>
              <a:t>Sie müssen sich den besonderen Herausforderungen stellen, die sich für unterrepräsentierte Unternehmerinnen und Unternehmer in der Geschäftswelt ergeben, und diese meistern.</a:t>
            </a:r>
          </a:p>
          <a:p>
            <a:pPr marL="342900" indent="-342900">
              <a:buFont typeface="Arial" panose="020B0604020202020204" pitchFamily="34" charset="0"/>
              <a:buChar char="•"/>
            </a:pPr>
            <a:r>
              <a:rPr lang="en-GB" sz="2400" dirty="0"/>
              <a:t>Einhaltung ethischer Marketing- und Verkaufspraktiken, die die Privatsphäre der Kunden respektieren und Transparenz fördern.</a:t>
            </a:r>
            <a:endParaRPr lang="en-US" sz="2400" dirty="0"/>
          </a:p>
          <a:p>
            <a:endParaRPr lang="en-US" dirty="0"/>
          </a:p>
        </p:txBody>
      </p:sp>
    </p:spTree>
    <p:extLst>
      <p:ext uri="{BB962C8B-B14F-4D97-AF65-F5344CB8AC3E}">
        <p14:creationId xmlns:p14="http://schemas.microsoft.com/office/powerpoint/2010/main" val="32279888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0C435D-FEE4-CCF4-409B-B718E6B6DFE2}"/>
              </a:ext>
            </a:extLst>
          </p:cNvPr>
          <p:cNvSpPr>
            <a:spLocks noGrp="1"/>
          </p:cNvSpPr>
          <p:nvPr>
            <p:ph type="body" sz="quarter" idx="16"/>
          </p:nvPr>
        </p:nvSpPr>
        <p:spPr/>
        <p:txBody>
          <a:bodyPr/>
          <a:lstStyle/>
          <a:p>
            <a:endParaRPr lang="en-US"/>
          </a:p>
        </p:txBody>
      </p:sp>
      <p:sp>
        <p:nvSpPr>
          <p:cNvPr id="5" name="Freeform 10">
            <a:extLst>
              <a:ext uri="{FF2B5EF4-FFF2-40B4-BE49-F238E27FC236}">
                <a16:creationId xmlns:a16="http://schemas.microsoft.com/office/drawing/2014/main" id="{C1F92805-D754-118A-BB0E-885D7D7E5EE2}"/>
              </a:ext>
            </a:extLst>
          </p:cNvPr>
          <p:cNvSpPr/>
          <p:nvPr/>
        </p:nvSpPr>
        <p:spPr>
          <a:xfrm>
            <a:off x="415291" y="760927"/>
            <a:ext cx="919471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3200" dirty="0" err="1">
                <a:latin typeface="Calibri"/>
                <a:cs typeface="Calibri"/>
              </a:rPr>
              <a:t>Ihre</a:t>
            </a:r>
            <a:r>
              <a:rPr lang="en-US" sz="3200" dirty="0">
                <a:latin typeface="Calibri"/>
                <a:cs typeface="Calibri"/>
              </a:rPr>
              <a:t> Online-</a:t>
            </a:r>
            <a:r>
              <a:rPr lang="en-US" sz="3200" dirty="0" err="1">
                <a:latin typeface="Calibri"/>
                <a:cs typeface="Calibri"/>
              </a:rPr>
              <a:t>Präsenz</a:t>
            </a:r>
            <a:r>
              <a:rPr lang="en-US" sz="3200" dirty="0">
                <a:latin typeface="Calibri"/>
                <a:cs typeface="Calibri"/>
              </a:rPr>
              <a:t> - </a:t>
            </a:r>
            <a:r>
              <a:rPr lang="en-US" sz="3200" dirty="0" err="1">
                <a:latin typeface="Calibri"/>
                <a:cs typeface="Calibri"/>
              </a:rPr>
              <a:t>lassen</a:t>
            </a:r>
            <a:r>
              <a:rPr lang="en-US" sz="3200" dirty="0">
                <a:latin typeface="Calibri"/>
                <a:cs typeface="Calibri"/>
              </a:rPr>
              <a:t> Sie </a:t>
            </a:r>
            <a:r>
              <a:rPr lang="en-US" sz="3200" dirty="0" err="1">
                <a:latin typeface="Calibri"/>
                <a:cs typeface="Calibri"/>
              </a:rPr>
              <a:t>sie</a:t>
            </a:r>
            <a:r>
              <a:rPr lang="en-US" sz="3200" dirty="0">
                <a:latin typeface="Calibri"/>
                <a:cs typeface="Calibri"/>
              </a:rPr>
              <a:t> für </a:t>
            </a:r>
            <a:r>
              <a:rPr lang="en-US" sz="3200" dirty="0" err="1">
                <a:latin typeface="Calibri"/>
                <a:cs typeface="Calibri"/>
              </a:rPr>
              <a:t>sich</a:t>
            </a:r>
            <a:r>
              <a:rPr lang="en-US" sz="3200" dirty="0">
                <a:latin typeface="Calibri"/>
                <a:cs typeface="Calibri"/>
              </a:rPr>
              <a:t> </a:t>
            </a:r>
            <a:r>
              <a:rPr lang="en-US" sz="3200" dirty="0" err="1">
                <a:latin typeface="Calibri"/>
                <a:cs typeface="Calibri"/>
              </a:rPr>
              <a:t>arbeiten</a:t>
            </a:r>
            <a:endParaRPr lang="en-US" sz="3200" b="0" i="0" dirty="0">
              <a:latin typeface="Calibri" panose="020F0502020204030204" pitchFamily="34" charset="0"/>
              <a:cs typeface="Calibri"/>
            </a:endParaRPr>
          </a:p>
        </p:txBody>
      </p:sp>
      <p:sp>
        <p:nvSpPr>
          <p:cNvPr id="6" name="Text Placeholder 4">
            <a:extLst>
              <a:ext uri="{FF2B5EF4-FFF2-40B4-BE49-F238E27FC236}">
                <a16:creationId xmlns:a16="http://schemas.microsoft.com/office/drawing/2014/main" id="{5A07E35C-3202-30E7-DD7A-329CA6C7514D}"/>
              </a:ext>
            </a:extLst>
          </p:cNvPr>
          <p:cNvSpPr>
            <a:spLocks noGrp="1"/>
          </p:cNvSpPr>
          <p:nvPr/>
        </p:nvSpPr>
        <p:spPr>
          <a:xfrm>
            <a:off x="736368" y="1714155"/>
            <a:ext cx="3457748" cy="410648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2000">
                <a:solidFill>
                  <a:srgbClr val="47B5C8"/>
                </a:solidFill>
              </a:rPr>
              <a:t>Betrachten Sie Ihre Website als Dreh- und Angelpunkt und als Ihr </a:t>
            </a:r>
            <a:r>
              <a:rPr lang="en-US" sz="2000" b="1">
                <a:solidFill>
                  <a:srgbClr val="47B5C8"/>
                </a:solidFill>
              </a:rPr>
              <a:t>immer offenes Schaufenster</a:t>
            </a:r>
            <a:r>
              <a:rPr lang="en-US" sz="2000">
                <a:solidFill>
                  <a:srgbClr val="47B5C8"/>
                </a:solidFill>
              </a:rPr>
              <a:t>. Sie ist das, was die Leute sehen, wenn sie nach Ihnen suchen. </a:t>
            </a:r>
            <a:endParaRPr lang="en-US" sz="2000">
              <a:solidFill>
                <a:srgbClr val="47B5C8"/>
              </a:solidFill>
              <a:cs typeface="Calibri"/>
            </a:endParaRPr>
          </a:p>
          <a:p>
            <a:r>
              <a:rPr lang="en-US" sz="2000">
                <a:solidFill>
                  <a:srgbClr val="47B5C8"/>
                </a:solidFill>
              </a:rPr>
              <a:t>Sorgen Sie dafür, dass Ihr erster Eindruck ein guter ist.</a:t>
            </a:r>
            <a:endParaRPr lang="en-US" sz="2000">
              <a:solidFill>
                <a:srgbClr val="47B5C8"/>
              </a:solidFill>
              <a:cs typeface="Calibri"/>
            </a:endParaRPr>
          </a:p>
          <a:p>
            <a:r>
              <a:rPr lang="en-US" sz="2000">
                <a:solidFill>
                  <a:srgbClr val="47B5C8"/>
                </a:solidFill>
              </a:rPr>
              <a:t>Der Aufwand für die Gestaltung der Website wird sich auszahlen.</a:t>
            </a:r>
            <a:endParaRPr lang="en-US" sz="2000">
              <a:solidFill>
                <a:srgbClr val="47B5C8"/>
              </a:solidFill>
              <a:cs typeface="Calibri"/>
            </a:endParaRPr>
          </a:p>
        </p:txBody>
      </p:sp>
      <p:sp>
        <p:nvSpPr>
          <p:cNvPr id="7" name="Text Placeholder 4">
            <a:extLst>
              <a:ext uri="{FF2B5EF4-FFF2-40B4-BE49-F238E27FC236}">
                <a16:creationId xmlns:a16="http://schemas.microsoft.com/office/drawing/2014/main" id="{47FBE380-1B26-B2BB-FDA7-A3292040E6ED}"/>
              </a:ext>
            </a:extLst>
          </p:cNvPr>
          <p:cNvSpPr txBox="1">
            <a:spLocks/>
          </p:cNvSpPr>
          <p:nvPr/>
        </p:nvSpPr>
        <p:spPr>
          <a:xfrm>
            <a:off x="4193740" y="1715661"/>
            <a:ext cx="6766559" cy="6434050"/>
          </a:xfrm>
          <a:prstGeom prst="rect">
            <a:avLst/>
          </a:prstGeom>
        </p:spPr>
        <p:txBody>
          <a:bodyPr vert="horz" lIns="91440" tIns="45720" rIns="91440" bIns="45720" numCol="1"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Clr>
                <a:srgbClr val="DE0A1D"/>
              </a:buClr>
              <a:buFont typeface="Arial" panose="020B0604020202020204" pitchFamily="34" charset="0"/>
              <a:buChar char="•"/>
            </a:pPr>
            <a:r>
              <a:rPr lang="en-US" sz="2000" dirty="0">
                <a:solidFill>
                  <a:srgbClr val="595959"/>
                </a:solidFill>
              </a:rPr>
              <a:t>Definieren Sie Ihre Ziele für die Website</a:t>
            </a:r>
            <a:endParaRPr lang="en-US" sz="2000" dirty="0">
              <a:solidFill>
                <a:srgbClr val="595959"/>
              </a:solidFill>
              <a:cs typeface="Calibri"/>
            </a:endParaRPr>
          </a:p>
          <a:p>
            <a:pPr marL="342900" indent="-342900">
              <a:buClr>
                <a:srgbClr val="DE0A1D"/>
              </a:buClr>
              <a:buFont typeface="Arial" panose="020B0604020202020204" pitchFamily="34" charset="0"/>
              <a:buChar char="•"/>
            </a:pPr>
            <a:r>
              <a:rPr lang="en-US" sz="2000" dirty="0">
                <a:solidFill>
                  <a:srgbClr val="595959"/>
                </a:solidFill>
              </a:rPr>
              <a:t>Welche Informationen möchten Sie auf der Website hervorheben?</a:t>
            </a:r>
            <a:endParaRPr lang="en-US" sz="2000" dirty="0">
              <a:solidFill>
                <a:srgbClr val="595959"/>
              </a:solidFill>
              <a:cs typeface="Calibri"/>
            </a:endParaRPr>
          </a:p>
          <a:p>
            <a:pPr marL="342900" indent="-342900">
              <a:buClr>
                <a:srgbClr val="DE0A1D"/>
              </a:buClr>
              <a:buFont typeface="Arial" panose="020B0604020202020204" pitchFamily="34" charset="0"/>
              <a:buChar char="•"/>
            </a:pPr>
            <a:r>
              <a:rPr lang="en-US" sz="2000" dirty="0">
                <a:solidFill>
                  <a:srgbClr val="595959"/>
                </a:solidFill>
              </a:rPr>
              <a:t>Wie können Sie Ihre Unique Selling Points hervorheben?</a:t>
            </a:r>
            <a:endParaRPr lang="en-US" sz="2000" dirty="0">
              <a:solidFill>
                <a:srgbClr val="595959"/>
              </a:solidFill>
              <a:cs typeface="Calibri"/>
            </a:endParaRPr>
          </a:p>
          <a:p>
            <a:pPr marL="342900" indent="-342900">
              <a:buClr>
                <a:srgbClr val="DE0A1D"/>
              </a:buClr>
              <a:buFont typeface="Arial" panose="020B0604020202020204" pitchFamily="34" charset="0"/>
              <a:buChar char="•"/>
            </a:pPr>
            <a:r>
              <a:rPr lang="en-US" sz="2000" dirty="0">
                <a:solidFill>
                  <a:srgbClr val="595959"/>
                </a:solidFill>
              </a:rPr>
              <a:t>Wie soll der Besucher dies erleben? Z.B. durch Video, Bildergalerie, Downloads usw.</a:t>
            </a:r>
          </a:p>
          <a:p>
            <a:pPr marL="342900" indent="-342900">
              <a:buClr>
                <a:srgbClr val="DE0A1D"/>
              </a:buClr>
              <a:buFont typeface="Arial" panose="020B0604020202020204" pitchFamily="34" charset="0"/>
              <a:buChar char="•"/>
            </a:pPr>
            <a:r>
              <a:rPr lang="en-US" sz="2000" dirty="0">
                <a:solidFill>
                  <a:srgbClr val="595959"/>
                </a:solidFill>
              </a:rPr>
              <a:t>Welches Layout für Ihr Unternehmen geeignet ist</a:t>
            </a:r>
          </a:p>
          <a:p>
            <a:pPr marL="342900" indent="-342900">
              <a:buClr>
                <a:srgbClr val="DE0A1D"/>
              </a:buClr>
              <a:buFont typeface="Arial" panose="020B0604020202020204" pitchFamily="34" charset="0"/>
              <a:buChar char="•"/>
            </a:pPr>
            <a:r>
              <a:rPr lang="en-US" sz="2000" dirty="0">
                <a:solidFill>
                  <a:srgbClr val="595959"/>
                </a:solidFill>
              </a:rPr>
              <a:t>Wie kann Ihre Website potenzielle Interessenten einfangen? z. B. Anmeldung zu unserem Newsletter</a:t>
            </a:r>
            <a:endParaRPr lang="en-US" sz="2000" dirty="0">
              <a:solidFill>
                <a:srgbClr val="595959"/>
              </a:solidFill>
              <a:cs typeface="Calibri"/>
            </a:endParaRPr>
          </a:p>
          <a:p>
            <a:pPr marL="342900" indent="-342900">
              <a:buClr>
                <a:srgbClr val="DE0A1D"/>
              </a:buClr>
              <a:buFont typeface="Arial" panose="020B0604020202020204" pitchFamily="34" charset="0"/>
              <a:buChar char="•"/>
            </a:pPr>
            <a:r>
              <a:rPr lang="en-US" sz="2000" dirty="0">
                <a:solidFill>
                  <a:srgbClr val="595959"/>
                </a:solidFill>
              </a:rPr>
              <a:t>Kostenerwägungen - kann eine kostenlose Website die gleiche Funktionalität bieten wie ein individuelles Design?</a:t>
            </a:r>
            <a:endParaRPr lang="en-US" sz="2000" dirty="0">
              <a:solidFill>
                <a:srgbClr val="595959"/>
              </a:solidFill>
              <a:cs typeface="Calibri"/>
            </a:endParaRPr>
          </a:p>
        </p:txBody>
      </p:sp>
    </p:spTree>
    <p:extLst>
      <p:ext uri="{BB962C8B-B14F-4D97-AF65-F5344CB8AC3E}">
        <p14:creationId xmlns:p14="http://schemas.microsoft.com/office/powerpoint/2010/main" val="35854674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EC87C38-9364-3798-7FEF-B2BAE20D8895}"/>
              </a:ext>
            </a:extLst>
          </p:cNvPr>
          <p:cNvSpPr>
            <a:spLocks noGrp="1"/>
          </p:cNvSpPr>
          <p:nvPr>
            <p:ph type="body" sz="quarter" idx="16"/>
          </p:nvPr>
        </p:nvSpPr>
        <p:spPr/>
        <p:txBody>
          <a:bodyPr/>
          <a:lstStyle/>
          <a:p>
            <a:endParaRPr lang="en-US"/>
          </a:p>
        </p:txBody>
      </p:sp>
      <p:sp>
        <p:nvSpPr>
          <p:cNvPr id="5" name="Freeform 10">
            <a:extLst>
              <a:ext uri="{FF2B5EF4-FFF2-40B4-BE49-F238E27FC236}">
                <a16:creationId xmlns:a16="http://schemas.microsoft.com/office/drawing/2014/main" id="{77CB65A8-D7E1-6EBA-37F7-4A696B96055A}"/>
              </a:ext>
            </a:extLst>
          </p:cNvPr>
          <p:cNvSpPr/>
          <p:nvPr/>
        </p:nvSpPr>
        <p:spPr>
          <a:xfrm>
            <a:off x="415291" y="760927"/>
            <a:ext cx="919471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3200" dirty="0" err="1">
                <a:latin typeface="Calibri"/>
                <a:cs typeface="Calibri"/>
              </a:rPr>
              <a:t>Ihre</a:t>
            </a:r>
            <a:r>
              <a:rPr lang="en-US" sz="3200" dirty="0">
                <a:latin typeface="Calibri"/>
                <a:cs typeface="Calibri"/>
              </a:rPr>
              <a:t> Website - Das </a:t>
            </a:r>
            <a:r>
              <a:rPr lang="en-US" sz="3200" dirty="0" err="1">
                <a:latin typeface="Calibri"/>
                <a:cs typeface="Calibri"/>
              </a:rPr>
              <a:t>Wichtigste</a:t>
            </a:r>
            <a:endParaRPr lang="en-US" sz="3200" b="0" i="0" dirty="0">
              <a:latin typeface="Calibri" panose="020F0502020204030204" pitchFamily="34" charset="0"/>
              <a:cs typeface="Calibri"/>
            </a:endParaRPr>
          </a:p>
        </p:txBody>
      </p:sp>
      <p:sp>
        <p:nvSpPr>
          <p:cNvPr id="7" name="TextBox 6">
            <a:extLst>
              <a:ext uri="{FF2B5EF4-FFF2-40B4-BE49-F238E27FC236}">
                <a16:creationId xmlns:a16="http://schemas.microsoft.com/office/drawing/2014/main" id="{D209B359-9509-25CB-85D7-04965916AE24}"/>
              </a:ext>
            </a:extLst>
          </p:cNvPr>
          <p:cNvSpPr txBox="1"/>
          <p:nvPr/>
        </p:nvSpPr>
        <p:spPr>
          <a:xfrm>
            <a:off x="3462498" y="1718022"/>
            <a:ext cx="725458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595959"/>
                </a:solidFill>
                <a:cs typeface="Calibri"/>
              </a:rPr>
              <a:t>Ihre Homepage ist der erste Kontaktpunkt für Besucher. Sie muss 2 wichtige Fragen beantworten: Was machen Sie? Und: Warum sollte ich Ihnen vertrauen? Geben Sie den Besuchern einen Grund, auf Ihrer Website zu bleiben</a:t>
            </a:r>
            <a:endParaRPr lang="en-US" sz="2000">
              <a:solidFill>
                <a:srgbClr val="595959"/>
              </a:solidFill>
            </a:endParaRPr>
          </a:p>
        </p:txBody>
      </p:sp>
      <p:sp>
        <p:nvSpPr>
          <p:cNvPr id="8" name="TextBox 7">
            <a:extLst>
              <a:ext uri="{FF2B5EF4-FFF2-40B4-BE49-F238E27FC236}">
                <a16:creationId xmlns:a16="http://schemas.microsoft.com/office/drawing/2014/main" id="{A8390758-C05B-B438-3ECB-60B03CFD94E1}"/>
              </a:ext>
            </a:extLst>
          </p:cNvPr>
          <p:cNvSpPr txBox="1"/>
          <p:nvPr/>
        </p:nvSpPr>
        <p:spPr>
          <a:xfrm>
            <a:off x="800619" y="2276557"/>
            <a:ext cx="274319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DE0A1D"/>
                </a:solidFill>
                <a:cs typeface="Calibri"/>
              </a:rPr>
              <a:t>Die Struktur</a:t>
            </a:r>
            <a:endParaRPr lang="en-US" sz="2000" b="1">
              <a:solidFill>
                <a:srgbClr val="DE0A1D"/>
              </a:solidFill>
            </a:endParaRPr>
          </a:p>
        </p:txBody>
      </p:sp>
      <p:sp>
        <p:nvSpPr>
          <p:cNvPr id="9" name="TextBox 8">
            <a:extLst>
              <a:ext uri="{FF2B5EF4-FFF2-40B4-BE49-F238E27FC236}">
                <a16:creationId xmlns:a16="http://schemas.microsoft.com/office/drawing/2014/main" id="{19B96006-3936-CB1B-84FC-B46325B19C5D}"/>
              </a:ext>
            </a:extLst>
          </p:cNvPr>
          <p:cNvSpPr txBox="1"/>
          <p:nvPr/>
        </p:nvSpPr>
        <p:spPr>
          <a:xfrm>
            <a:off x="3475356" y="3427708"/>
            <a:ext cx="724592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595959"/>
                </a:solidFill>
                <a:cs typeface="Calibri"/>
              </a:rPr>
              <a:t>Stärken Sie dieses Vertrauen. Teilen Sie Ihr Profil und zeigen Sie, warum Sie etwas Besonderes sind.  Denken Sie daran, dass 78 % der Menschen einer Empfehlung vertrauen und nur 14 % einer Werbung.</a:t>
            </a:r>
            <a:endParaRPr lang="en-US" sz="2000">
              <a:cs typeface="Calibri"/>
            </a:endParaRPr>
          </a:p>
        </p:txBody>
      </p:sp>
      <p:sp>
        <p:nvSpPr>
          <p:cNvPr id="10" name="TextBox 9">
            <a:extLst>
              <a:ext uri="{FF2B5EF4-FFF2-40B4-BE49-F238E27FC236}">
                <a16:creationId xmlns:a16="http://schemas.microsoft.com/office/drawing/2014/main" id="{55A9F933-7C41-729F-B27A-F722D4748DA5}"/>
              </a:ext>
            </a:extLst>
          </p:cNvPr>
          <p:cNvSpPr txBox="1"/>
          <p:nvPr/>
        </p:nvSpPr>
        <p:spPr>
          <a:xfrm>
            <a:off x="800619" y="3566761"/>
            <a:ext cx="274319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DE0A1D"/>
                </a:solidFill>
                <a:cs typeface="Calibri"/>
              </a:rPr>
              <a:t>Die Über-Seite</a:t>
            </a:r>
            <a:endParaRPr lang="en-US" sz="2000" b="1">
              <a:solidFill>
                <a:srgbClr val="DE0A1D"/>
              </a:solidFill>
            </a:endParaRPr>
          </a:p>
        </p:txBody>
      </p:sp>
      <p:sp>
        <p:nvSpPr>
          <p:cNvPr id="11" name="TextBox 10">
            <a:extLst>
              <a:ext uri="{FF2B5EF4-FFF2-40B4-BE49-F238E27FC236}">
                <a16:creationId xmlns:a16="http://schemas.microsoft.com/office/drawing/2014/main" id="{6B83276E-AC1B-3E41-7650-1A241C87712F}"/>
              </a:ext>
            </a:extLst>
          </p:cNvPr>
          <p:cNvSpPr txBox="1"/>
          <p:nvPr/>
        </p:nvSpPr>
        <p:spPr>
          <a:xfrm>
            <a:off x="800619" y="4943557"/>
            <a:ext cx="274319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DE0A1D"/>
                </a:solidFill>
                <a:cs typeface="Calibri"/>
              </a:rPr>
              <a:t>Kontakt Seite</a:t>
            </a:r>
            <a:endParaRPr lang="en-US" sz="2000" b="1">
              <a:solidFill>
                <a:srgbClr val="DE0A1D"/>
              </a:solidFill>
            </a:endParaRPr>
          </a:p>
        </p:txBody>
      </p:sp>
      <p:sp>
        <p:nvSpPr>
          <p:cNvPr id="12" name="TextBox 11">
            <a:extLst>
              <a:ext uri="{FF2B5EF4-FFF2-40B4-BE49-F238E27FC236}">
                <a16:creationId xmlns:a16="http://schemas.microsoft.com/office/drawing/2014/main" id="{7871CAAF-E08E-3185-D00A-9AD2149FF083}"/>
              </a:ext>
            </a:extLst>
          </p:cNvPr>
          <p:cNvSpPr txBox="1"/>
          <p:nvPr/>
        </p:nvSpPr>
        <p:spPr>
          <a:xfrm>
            <a:off x="3466696" y="4804503"/>
            <a:ext cx="724592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595959"/>
                </a:solidFill>
                <a:cs typeface="Calibri"/>
              </a:rPr>
              <a:t>Machen Sie es den Leuten leicht, Sie auf JEDER Seite zu kontaktieren. E-Mail, Telefonnummer und Adresse müssen deutlich angezeigt werden, ggf. mit Google Map.</a:t>
            </a:r>
          </a:p>
        </p:txBody>
      </p:sp>
    </p:spTree>
    <p:extLst>
      <p:ext uri="{BB962C8B-B14F-4D97-AF65-F5344CB8AC3E}">
        <p14:creationId xmlns:p14="http://schemas.microsoft.com/office/powerpoint/2010/main" val="19115604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screenshot of a phone&#10;&#10;Description automatically generated">
            <a:extLst>
              <a:ext uri="{FF2B5EF4-FFF2-40B4-BE49-F238E27FC236}">
                <a16:creationId xmlns:a16="http://schemas.microsoft.com/office/drawing/2014/main" id="{D0D409A4-8CC2-3F62-ACD6-67E7C8AB3FFE}"/>
              </a:ext>
            </a:extLst>
          </p:cNvPr>
          <p:cNvPicPr>
            <a:picLocks noGrp="1" noChangeAspect="1"/>
          </p:cNvPicPr>
          <p:nvPr>
            <p:ph type="pic" sz="quarter" idx="10"/>
          </p:nvPr>
        </p:nvPicPr>
        <p:blipFill>
          <a:blip r:embed="rId2"/>
          <a:srcRect t="4125" b="4125"/>
          <a:stretch/>
        </p:blipFill>
        <p:spPr/>
      </p:pic>
      <p:sp>
        <p:nvSpPr>
          <p:cNvPr id="3" name="Text Placeholder 2">
            <a:extLst>
              <a:ext uri="{FF2B5EF4-FFF2-40B4-BE49-F238E27FC236}">
                <a16:creationId xmlns:a16="http://schemas.microsoft.com/office/drawing/2014/main" id="{1134F226-EC58-21D5-B9B9-536FDE00DC5C}"/>
              </a:ext>
            </a:extLst>
          </p:cNvPr>
          <p:cNvSpPr>
            <a:spLocks noGrp="1"/>
          </p:cNvSpPr>
          <p:nvPr>
            <p:ph type="body" sz="quarter" idx="18"/>
          </p:nvPr>
        </p:nvSpPr>
        <p:spPr>
          <a:xfrm>
            <a:off x="835670" y="1966337"/>
            <a:ext cx="7199389" cy="3291086"/>
          </a:xfrm>
        </p:spPr>
        <p:txBody>
          <a:bodyPr lIns="91440" tIns="45720" rIns="91440" bIns="45720" anchor="t"/>
          <a:lstStyle/>
          <a:p>
            <a:pPr marL="0" indent="0"/>
            <a:r>
              <a:rPr lang="en-US" sz="2000" dirty="0">
                <a:cs typeface="Calibri"/>
              </a:rPr>
              <a:t>Wenn Sie eine lokale Seite auf Google My Business erstellen, können Ihre Geschäftsinformationen in der Google-Suche, in Google Earth und in anderen Google-Eigenschaften angezeigt werden.</a:t>
            </a:r>
          </a:p>
          <a:p>
            <a:pPr marL="0" indent="0"/>
            <a:endParaRPr lang="en-US" dirty="0">
              <a:cs typeface="Calibri"/>
              <a:hlinkClick r:id="rId3">
                <a:extLst>
                  <a:ext uri="{A12FA001-AC4F-418D-AE19-62706E023703}">
                    <ahyp:hlinkClr xmlns:ahyp="http://schemas.microsoft.com/office/drawing/2018/hyperlinkcolor" val="tx"/>
                  </a:ext>
                </a:extLst>
              </a:hlinkClick>
            </a:endParaRPr>
          </a:p>
          <a:p>
            <a:pPr marL="0" indent="0"/>
            <a:r>
              <a:rPr lang="en-US" dirty="0">
                <a:cs typeface="Calibri"/>
                <a:hlinkClick r:id="rId3">
                  <a:extLst>
                    <a:ext uri="{A12FA001-AC4F-418D-AE19-62706E023703}">
                      <ahyp:hlinkClr xmlns:ahyp="http://schemas.microsoft.com/office/drawing/2018/hyperlinkcolor" val="tx"/>
                    </a:ext>
                  </a:extLst>
                </a:hlinkClick>
              </a:rPr>
              <a:t>https://support.google.com/business</a:t>
            </a:r>
            <a:endParaRPr lang="en-US" dirty="0">
              <a:cs typeface="Calibri"/>
            </a:endParaRPr>
          </a:p>
          <a:p>
            <a:pPr marL="0" indent="0"/>
            <a:endParaRPr lang="en-US" dirty="0">
              <a:solidFill>
                <a:srgbClr val="000000"/>
              </a:solidFill>
              <a:cs typeface="Calibri"/>
            </a:endParaRPr>
          </a:p>
          <a:p>
            <a:endParaRPr lang="en-US" sz="2000" dirty="0">
              <a:cs typeface="Calibri"/>
            </a:endParaRPr>
          </a:p>
        </p:txBody>
      </p:sp>
      <p:sp>
        <p:nvSpPr>
          <p:cNvPr id="4" name="Text Placeholder 3">
            <a:extLst>
              <a:ext uri="{FF2B5EF4-FFF2-40B4-BE49-F238E27FC236}">
                <a16:creationId xmlns:a16="http://schemas.microsoft.com/office/drawing/2014/main" id="{465B6BD8-C30B-3DE8-586F-2501CD4A804D}"/>
              </a:ext>
            </a:extLst>
          </p:cNvPr>
          <p:cNvSpPr>
            <a:spLocks noGrp="1"/>
          </p:cNvSpPr>
          <p:nvPr>
            <p:ph type="body" sz="quarter" idx="16"/>
          </p:nvPr>
        </p:nvSpPr>
        <p:spPr>
          <a:xfrm>
            <a:off x="581998" y="973685"/>
            <a:ext cx="7954368" cy="992652"/>
          </a:xfrm>
        </p:spPr>
        <p:txBody>
          <a:bodyPr lIns="91440" tIns="45720" rIns="91440" bIns="45720" anchor="t">
            <a:noAutofit/>
          </a:bodyPr>
          <a:lstStyle/>
          <a:p>
            <a:r>
              <a:rPr lang="en-US" sz="3200" b="1" dirty="0">
                <a:cs typeface="Calibri"/>
              </a:rPr>
              <a:t>Beanspruchen Sie Ihren Platz - Google My Business</a:t>
            </a:r>
            <a:endParaRPr lang="en-US" sz="3200" b="1" dirty="0"/>
          </a:p>
        </p:txBody>
      </p:sp>
    </p:spTree>
    <p:extLst>
      <p:ext uri="{BB962C8B-B14F-4D97-AF65-F5344CB8AC3E}">
        <p14:creationId xmlns:p14="http://schemas.microsoft.com/office/powerpoint/2010/main" val="39793843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0">
            <a:extLst>
              <a:ext uri="{FF2B5EF4-FFF2-40B4-BE49-F238E27FC236}">
                <a16:creationId xmlns:a16="http://schemas.microsoft.com/office/drawing/2014/main" id="{17A7BE05-8C0D-C64D-166D-284B4BFA022B}"/>
              </a:ext>
            </a:extLst>
          </p:cNvPr>
          <p:cNvSpPr/>
          <p:nvPr/>
        </p:nvSpPr>
        <p:spPr>
          <a:xfrm>
            <a:off x="2433" y="769586"/>
            <a:ext cx="789078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3600">
                <a:latin typeface="Calibri"/>
                <a:cs typeface="Calibri"/>
              </a:rPr>
              <a:t>Werbematerial und Marketingmaterial</a:t>
            </a:r>
            <a:endParaRPr lang="en-US" sz="3600" b="0" i="0">
              <a:latin typeface="Calibri" panose="020F0502020204030204" pitchFamily="34" charset="0"/>
            </a:endParaRPr>
          </a:p>
        </p:txBody>
      </p:sp>
      <p:sp>
        <p:nvSpPr>
          <p:cNvPr id="2" name="Text Placeholder 1">
            <a:extLst>
              <a:ext uri="{FF2B5EF4-FFF2-40B4-BE49-F238E27FC236}">
                <a16:creationId xmlns:a16="http://schemas.microsoft.com/office/drawing/2014/main" id="{305916A7-3F25-3583-7BB2-F6B76EC0AA1F}"/>
              </a:ext>
            </a:extLst>
          </p:cNvPr>
          <p:cNvSpPr>
            <a:spLocks noGrp="1"/>
          </p:cNvSpPr>
          <p:nvPr>
            <p:ph type="body" sz="quarter" idx="18"/>
          </p:nvPr>
        </p:nvSpPr>
        <p:spPr>
          <a:xfrm>
            <a:off x="7892433" y="784816"/>
            <a:ext cx="2513658" cy="790318"/>
          </a:xfrm>
        </p:spPr>
        <p:txBody>
          <a:bodyPr lIns="91440" tIns="45720" rIns="91440" bIns="45720" anchor="t"/>
          <a:lstStyle/>
          <a:p>
            <a:r>
              <a:rPr lang="en-US" sz="2000" b="1" dirty="0">
                <a:cs typeface="Calibri"/>
              </a:rPr>
              <a:t>   Priorisieren Sie, was Sie am meisten brauchen</a:t>
            </a:r>
          </a:p>
          <a:p>
            <a:endParaRPr lang="en-US" sz="2000" dirty="0">
              <a:cs typeface="Calibri"/>
            </a:endParaRPr>
          </a:p>
        </p:txBody>
      </p:sp>
      <p:sp>
        <p:nvSpPr>
          <p:cNvPr id="6" name="TextBox 5">
            <a:extLst>
              <a:ext uri="{FF2B5EF4-FFF2-40B4-BE49-F238E27FC236}">
                <a16:creationId xmlns:a16="http://schemas.microsoft.com/office/drawing/2014/main" id="{5451FC98-08ED-0E45-E420-B4A4893871C6}"/>
              </a:ext>
            </a:extLst>
          </p:cNvPr>
          <p:cNvSpPr txBox="1"/>
          <p:nvPr/>
        </p:nvSpPr>
        <p:spPr>
          <a:xfrm>
            <a:off x="454256" y="2061370"/>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DE0A1D"/>
                </a:solidFill>
                <a:cs typeface="Calibri"/>
              </a:rPr>
              <a:t>Visitenkarten</a:t>
            </a:r>
            <a:endParaRPr lang="en-US" sz="2000" b="1">
              <a:solidFill>
                <a:srgbClr val="DE0A1D"/>
              </a:solidFill>
            </a:endParaRPr>
          </a:p>
        </p:txBody>
      </p:sp>
      <p:sp>
        <p:nvSpPr>
          <p:cNvPr id="7" name="TextBox 6">
            <a:extLst>
              <a:ext uri="{FF2B5EF4-FFF2-40B4-BE49-F238E27FC236}">
                <a16:creationId xmlns:a16="http://schemas.microsoft.com/office/drawing/2014/main" id="{15520CC6-C9FD-2532-6F9F-FC9EED43D6D8}"/>
              </a:ext>
            </a:extLst>
          </p:cNvPr>
          <p:cNvSpPr txBox="1"/>
          <p:nvPr/>
        </p:nvSpPr>
        <p:spPr>
          <a:xfrm>
            <a:off x="454255" y="3009452"/>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DE0A1D"/>
                </a:solidFill>
                <a:cs typeface="Calibri"/>
              </a:rPr>
              <a:t>Produktfotografie</a:t>
            </a:r>
            <a:endParaRPr lang="en-US" sz="2000" b="1">
              <a:solidFill>
                <a:srgbClr val="DE0A1D"/>
              </a:solidFill>
            </a:endParaRPr>
          </a:p>
        </p:txBody>
      </p:sp>
      <p:sp>
        <p:nvSpPr>
          <p:cNvPr id="8" name="TextBox 7">
            <a:extLst>
              <a:ext uri="{FF2B5EF4-FFF2-40B4-BE49-F238E27FC236}">
                <a16:creationId xmlns:a16="http://schemas.microsoft.com/office/drawing/2014/main" id="{5E336458-B788-8CF8-042C-81B080AD83E0}"/>
              </a:ext>
            </a:extLst>
          </p:cNvPr>
          <p:cNvSpPr txBox="1"/>
          <p:nvPr/>
        </p:nvSpPr>
        <p:spPr>
          <a:xfrm>
            <a:off x="2582105" y="4017309"/>
            <a:ext cx="8335993"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E" sz="2000" baseline="0" dirty="0">
                <a:solidFill>
                  <a:srgbClr val="003841"/>
                </a:solidFill>
                <a:latin typeface="Calibri"/>
                <a:ea typeface="Segoe UI"/>
                <a:cs typeface="Segoe UI"/>
              </a:rPr>
              <a:t>Für die lokalen </a:t>
            </a:r>
            <a:r>
              <a:rPr lang="en-IE" sz="2000" dirty="0">
                <a:solidFill>
                  <a:srgbClr val="003841"/>
                </a:solidFill>
                <a:latin typeface="Calibri"/>
                <a:ea typeface="Segoe UI"/>
                <a:cs typeface="Segoe UI"/>
              </a:rPr>
              <a:t>Medien </a:t>
            </a:r>
            <a:r>
              <a:rPr lang="en-IE" sz="2000" baseline="0" dirty="0">
                <a:solidFill>
                  <a:srgbClr val="003841"/>
                </a:solidFill>
                <a:latin typeface="Calibri"/>
                <a:ea typeface="Segoe UI"/>
                <a:cs typeface="Segoe UI"/>
              </a:rPr>
              <a:t>- Journalisten und lokale </a:t>
            </a:r>
            <a:r>
              <a:rPr lang="en-IE" sz="2000" dirty="0">
                <a:solidFill>
                  <a:srgbClr val="003841"/>
                </a:solidFill>
                <a:latin typeface="Calibri"/>
                <a:ea typeface="Segoe UI"/>
                <a:cs typeface="Segoe UI"/>
              </a:rPr>
              <a:t>Nachrichtensender </a:t>
            </a:r>
            <a:r>
              <a:rPr lang="en-IE" sz="2000" baseline="0" dirty="0">
                <a:solidFill>
                  <a:srgbClr val="003841"/>
                </a:solidFill>
                <a:latin typeface="Calibri"/>
                <a:ea typeface="Segoe UI"/>
                <a:cs typeface="Segoe UI"/>
              </a:rPr>
              <a:t>sind immer an lokalen Nachrichten interessiert.</a:t>
            </a:r>
            <a:r>
              <a:rPr lang="en-US" sz="2000" dirty="0">
                <a:latin typeface="Calibri"/>
                <a:ea typeface="Segoe UI"/>
                <a:cs typeface="Segoe UI"/>
              </a:rPr>
              <a:t> </a:t>
            </a:r>
            <a:endParaRPr lang="en-US" sz="1600" dirty="0"/>
          </a:p>
          <a:p>
            <a:r>
              <a:rPr lang="en-IE" sz="2000" baseline="0" dirty="0">
                <a:solidFill>
                  <a:srgbClr val="003841"/>
                </a:solidFill>
                <a:latin typeface="Calibri"/>
                <a:ea typeface="Segoe UI"/>
                <a:cs typeface="Segoe UI"/>
              </a:rPr>
              <a:t>Inzwischen kennen Sie Ihr Alleinstellungsmerkmal, haben den Anfang einer Markengeschichte und vielleicht sogar ein Datum für die Markteinführung </a:t>
            </a:r>
            <a:r>
              <a:rPr lang="en-US" sz="2000" dirty="0">
                <a:latin typeface="Calibri"/>
                <a:ea typeface="Segoe UI"/>
                <a:cs typeface="Segoe UI"/>
              </a:rPr>
              <a:t>- fassen </a:t>
            </a:r>
            <a:r>
              <a:rPr lang="en-IE" sz="2000" baseline="0" dirty="0">
                <a:solidFill>
                  <a:srgbClr val="003841"/>
                </a:solidFill>
                <a:latin typeface="Calibri"/>
                <a:ea typeface="Segoe UI"/>
                <a:cs typeface="Segoe UI"/>
              </a:rPr>
              <a:t>Sie all dies in einer Pressemitteilung zusammen, und </a:t>
            </a:r>
            <a:r>
              <a:rPr lang="en-US" sz="2000" dirty="0">
                <a:latin typeface="Calibri"/>
                <a:ea typeface="Segoe UI"/>
                <a:cs typeface="Segoe UI"/>
              </a:rPr>
              <a:t>Sie </a:t>
            </a:r>
            <a:r>
              <a:rPr lang="en-IE" sz="2000" baseline="0" dirty="0">
                <a:solidFill>
                  <a:srgbClr val="003841"/>
                </a:solidFill>
                <a:latin typeface="Calibri"/>
                <a:ea typeface="Segoe UI"/>
                <a:cs typeface="Segoe UI"/>
              </a:rPr>
              <a:t>werden mit Sicherheit </a:t>
            </a:r>
            <a:r>
              <a:rPr lang="en-IE" sz="2000" dirty="0">
                <a:solidFill>
                  <a:srgbClr val="003841"/>
                </a:solidFill>
                <a:latin typeface="Calibri"/>
                <a:ea typeface="Segoe UI"/>
                <a:cs typeface="Segoe UI"/>
              </a:rPr>
              <a:t>einige Aufmerksamkeit erregen</a:t>
            </a:r>
            <a:r>
              <a:rPr lang="en-IE" sz="2000" baseline="0" dirty="0">
                <a:solidFill>
                  <a:srgbClr val="003841"/>
                </a:solidFill>
                <a:latin typeface="Calibri"/>
                <a:ea typeface="Segoe UI"/>
                <a:cs typeface="Segoe UI"/>
              </a:rPr>
              <a:t>.</a:t>
            </a:r>
            <a:endParaRPr lang="en-US" sz="2000" dirty="0">
              <a:solidFill>
                <a:srgbClr val="086D6E"/>
              </a:solidFill>
              <a:cs typeface="Segoe UI"/>
            </a:endParaRPr>
          </a:p>
        </p:txBody>
      </p:sp>
      <p:sp>
        <p:nvSpPr>
          <p:cNvPr id="10" name="TextBox 9">
            <a:extLst>
              <a:ext uri="{FF2B5EF4-FFF2-40B4-BE49-F238E27FC236}">
                <a16:creationId xmlns:a16="http://schemas.microsoft.com/office/drawing/2014/main" id="{8355892D-8675-4FAF-D2DC-49D8D28D7C84}"/>
              </a:ext>
            </a:extLst>
          </p:cNvPr>
          <p:cNvSpPr txBox="1"/>
          <p:nvPr/>
        </p:nvSpPr>
        <p:spPr>
          <a:xfrm>
            <a:off x="2579957" y="1738143"/>
            <a:ext cx="7800108"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E" sz="2000">
                <a:solidFill>
                  <a:srgbClr val="595959"/>
                </a:solidFill>
              </a:rPr>
              <a:t>Sie mögen zwar altmodisch sein, aber sie sind ein wichtiges Marketinginstrument, um Ihre Glaubwürdigkeit als </a:t>
            </a:r>
            <a:r>
              <a:rPr lang="en-US" sz="2000">
                <a:solidFill>
                  <a:srgbClr val="595959"/>
                </a:solidFill>
              </a:rPr>
              <a:t>Unternehmer</a:t>
            </a:r>
            <a:r>
              <a:rPr lang="en-IE" sz="2000">
                <a:solidFill>
                  <a:srgbClr val="595959"/>
                </a:solidFill>
              </a:rPr>
              <a:t> aufzubauen, Netzwerke zu knüpfen und Verbindungen herzustellen.</a:t>
            </a:r>
            <a:endParaRPr lang="en-US" sz="2000">
              <a:solidFill>
                <a:srgbClr val="595959"/>
              </a:solidFill>
              <a:cs typeface="Calibri"/>
            </a:endParaRPr>
          </a:p>
        </p:txBody>
      </p:sp>
      <p:sp>
        <p:nvSpPr>
          <p:cNvPr id="11" name="TextBox 10">
            <a:extLst>
              <a:ext uri="{FF2B5EF4-FFF2-40B4-BE49-F238E27FC236}">
                <a16:creationId xmlns:a16="http://schemas.microsoft.com/office/drawing/2014/main" id="{30C40C4F-9668-2E84-BFD2-9930A6FD4C58}"/>
              </a:ext>
            </a:extLst>
          </p:cNvPr>
          <p:cNvSpPr txBox="1"/>
          <p:nvPr/>
        </p:nvSpPr>
        <p:spPr>
          <a:xfrm>
            <a:off x="2579581" y="2825423"/>
            <a:ext cx="8484176"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E" sz="2000" dirty="0">
                <a:solidFill>
                  <a:srgbClr val="595959"/>
                </a:solidFill>
                <a:cs typeface="Segoe UI"/>
              </a:rPr>
              <a:t>Experimentieren Sie mit Ihrer Kamera und lernen Sie von anderen auf Instagram, wie man Fotos macht, die zum Mitmachen anregen</a:t>
            </a:r>
            <a:r>
              <a:rPr lang="en-US" sz="2000" dirty="0">
                <a:solidFill>
                  <a:srgbClr val="595959"/>
                </a:solidFill>
                <a:cs typeface="Segoe UI"/>
              </a:rPr>
              <a:t>!</a:t>
            </a:r>
            <a:endParaRPr lang="en-US" sz="1600" dirty="0">
              <a:solidFill>
                <a:srgbClr val="086D6E"/>
              </a:solidFill>
              <a:cs typeface="Calibri"/>
            </a:endParaRPr>
          </a:p>
        </p:txBody>
      </p:sp>
      <p:sp>
        <p:nvSpPr>
          <p:cNvPr id="12" name="TextBox 11">
            <a:extLst>
              <a:ext uri="{FF2B5EF4-FFF2-40B4-BE49-F238E27FC236}">
                <a16:creationId xmlns:a16="http://schemas.microsoft.com/office/drawing/2014/main" id="{5B85E37F-D262-59CF-0C6B-57673E4E6D53}"/>
              </a:ext>
            </a:extLst>
          </p:cNvPr>
          <p:cNvSpPr txBox="1"/>
          <p:nvPr/>
        </p:nvSpPr>
        <p:spPr>
          <a:xfrm>
            <a:off x="454255" y="4462388"/>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DE0A1D"/>
                </a:solidFill>
                <a:cs typeface="Calibri"/>
              </a:rPr>
              <a:t>Presseinformation</a:t>
            </a:r>
          </a:p>
        </p:txBody>
      </p:sp>
    </p:spTree>
    <p:extLst>
      <p:ext uri="{BB962C8B-B14F-4D97-AF65-F5344CB8AC3E}">
        <p14:creationId xmlns:p14="http://schemas.microsoft.com/office/powerpoint/2010/main" val="6711870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9B34FA-EE65-360E-646C-F0B1FE15D473}"/>
              </a:ext>
            </a:extLst>
          </p:cNvPr>
          <p:cNvSpPr>
            <a:spLocks noGrp="1"/>
          </p:cNvSpPr>
          <p:nvPr>
            <p:ph type="body" sz="quarter" idx="16"/>
          </p:nvPr>
        </p:nvSpPr>
        <p:spPr/>
        <p:txBody>
          <a:bodyPr/>
          <a:lstStyle/>
          <a:p>
            <a:endParaRPr lang="en-US"/>
          </a:p>
        </p:txBody>
      </p:sp>
      <p:sp>
        <p:nvSpPr>
          <p:cNvPr id="5" name="Freeform 10">
            <a:extLst>
              <a:ext uri="{FF2B5EF4-FFF2-40B4-BE49-F238E27FC236}">
                <a16:creationId xmlns:a16="http://schemas.microsoft.com/office/drawing/2014/main" id="{A1917C91-5363-35EB-6DA0-5BAA24AB7751}"/>
              </a:ext>
            </a:extLst>
          </p:cNvPr>
          <p:cNvSpPr/>
          <p:nvPr/>
        </p:nvSpPr>
        <p:spPr>
          <a:xfrm>
            <a:off x="363337" y="760927"/>
            <a:ext cx="9393871"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3600">
                <a:latin typeface="Calibri"/>
                <a:cs typeface="Calibri"/>
              </a:rPr>
              <a:t>Nutzen Sie die Macht des E-Mail-Marketings</a:t>
            </a:r>
            <a:endParaRPr lang="en-US" sz="3600" b="0" i="0">
              <a:latin typeface="Calibri" panose="020F0502020204030204" pitchFamily="34" charset="0"/>
            </a:endParaRPr>
          </a:p>
        </p:txBody>
      </p:sp>
      <p:pic>
        <p:nvPicPr>
          <p:cNvPr id="6" name="Picture 5" descr="An envelope with a paper and a bell&#10;&#10;Description automatically generated">
            <a:extLst>
              <a:ext uri="{FF2B5EF4-FFF2-40B4-BE49-F238E27FC236}">
                <a16:creationId xmlns:a16="http://schemas.microsoft.com/office/drawing/2014/main" id="{CC2FECC5-5992-5C4D-E6A5-06842F40A844}"/>
              </a:ext>
            </a:extLst>
          </p:cNvPr>
          <p:cNvPicPr>
            <a:picLocks noChangeAspect="1"/>
          </p:cNvPicPr>
          <p:nvPr/>
        </p:nvPicPr>
        <p:blipFill>
          <a:blip r:embed="rId2"/>
          <a:stretch>
            <a:fillRect/>
          </a:stretch>
        </p:blipFill>
        <p:spPr>
          <a:xfrm>
            <a:off x="8184565" y="2419350"/>
            <a:ext cx="2352675" cy="2019300"/>
          </a:xfrm>
          <a:prstGeom prst="rect">
            <a:avLst/>
          </a:prstGeom>
        </p:spPr>
      </p:pic>
      <p:sp>
        <p:nvSpPr>
          <p:cNvPr id="7" name="Text Placeholder 4">
            <a:extLst>
              <a:ext uri="{FF2B5EF4-FFF2-40B4-BE49-F238E27FC236}">
                <a16:creationId xmlns:a16="http://schemas.microsoft.com/office/drawing/2014/main" id="{D63D2301-367C-E12B-8ECE-328AF194B855}"/>
              </a:ext>
            </a:extLst>
          </p:cNvPr>
          <p:cNvSpPr>
            <a:spLocks noGrp="1"/>
          </p:cNvSpPr>
          <p:nvPr/>
        </p:nvSpPr>
        <p:spPr>
          <a:xfrm>
            <a:off x="893707" y="1711862"/>
            <a:ext cx="11298293" cy="40468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lnSpc>
                <a:spcPct val="100000"/>
              </a:lnSpc>
              <a:spcBef>
                <a:spcPts val="0"/>
              </a:spcBef>
              <a:buClr>
                <a:srgbClr val="EC2179"/>
              </a:buClr>
              <a:buFont typeface="Arial" charset="0"/>
              <a:buChar char="•"/>
            </a:pPr>
            <a:r>
              <a:rPr lang="en-US" dirty="0"/>
              <a:t>Hochwirksame Marketingmaßnahmen</a:t>
            </a:r>
          </a:p>
          <a:p>
            <a:pPr marL="342900" indent="-342900">
              <a:lnSpc>
                <a:spcPct val="100000"/>
              </a:lnSpc>
              <a:spcBef>
                <a:spcPts val="0"/>
              </a:spcBef>
              <a:buClr>
                <a:srgbClr val="EC2179"/>
              </a:buClr>
              <a:buFont typeface="Arial" charset="0"/>
              <a:buChar char="•"/>
            </a:pPr>
            <a:r>
              <a:rPr lang="en-US" dirty="0"/>
              <a:t>Einfache Verfolgung der Anzahl der Empfänger</a:t>
            </a:r>
          </a:p>
          <a:p>
            <a:pPr marL="342900" indent="-342900">
              <a:lnSpc>
                <a:spcPct val="100000"/>
              </a:lnSpc>
              <a:spcBef>
                <a:spcPts val="0"/>
              </a:spcBef>
              <a:buClr>
                <a:srgbClr val="EC2179"/>
              </a:buClr>
              <a:buFont typeface="Arial" charset="0"/>
              <a:buChar char="•"/>
            </a:pPr>
            <a:r>
              <a:rPr lang="en-US" dirty="0"/>
              <a:t>Kostenlose Pakete z.B. http://www.</a:t>
            </a:r>
            <a:r>
              <a:rPr lang="en-US" dirty="0">
                <a:hlinkClick r:id="rId3"/>
              </a:rPr>
              <a:t>mailchimp.com</a:t>
            </a:r>
            <a:endParaRPr lang="en-US" dirty="0"/>
          </a:p>
          <a:p>
            <a:pPr marL="342900" indent="-342900">
              <a:lnSpc>
                <a:spcPct val="100000"/>
              </a:lnSpc>
              <a:spcBef>
                <a:spcPts val="0"/>
              </a:spcBef>
              <a:buClr>
                <a:srgbClr val="EC2179"/>
              </a:buClr>
              <a:buFont typeface="Arial" charset="0"/>
              <a:buChar char="•"/>
            </a:pPr>
            <a:r>
              <a:rPr lang="en-US" dirty="0"/>
              <a:t>Online-Anwendung für Ezine und Newsletter</a:t>
            </a:r>
          </a:p>
          <a:p>
            <a:pPr marL="342900" indent="-342900">
              <a:lnSpc>
                <a:spcPct val="100000"/>
              </a:lnSpc>
              <a:spcBef>
                <a:spcPts val="0"/>
              </a:spcBef>
              <a:buClr>
                <a:srgbClr val="EC2179"/>
              </a:buClr>
              <a:buFont typeface="Arial" charset="0"/>
              <a:buChar char="•"/>
            </a:pPr>
            <a:r>
              <a:rPr lang="en-US" dirty="0"/>
              <a:t>Anmelden - KOSTENLOSES Konto</a:t>
            </a:r>
          </a:p>
          <a:p>
            <a:pPr marL="342900" indent="-342900">
              <a:lnSpc>
                <a:spcPct val="100000"/>
              </a:lnSpc>
              <a:spcBef>
                <a:spcPts val="0"/>
              </a:spcBef>
              <a:buClr>
                <a:srgbClr val="EC2179"/>
              </a:buClr>
              <a:buFont typeface="Arial" charset="0"/>
              <a:buChar char="•"/>
            </a:pPr>
            <a:r>
              <a:rPr lang="en-US" dirty="0"/>
              <a:t>Senden Sie 12.000 E-Mails pro Monat an 2.000 Abonnenten</a:t>
            </a:r>
          </a:p>
          <a:p>
            <a:pPr marL="342900" indent="-342900">
              <a:lnSpc>
                <a:spcPct val="100000"/>
              </a:lnSpc>
              <a:spcBef>
                <a:spcPts val="0"/>
              </a:spcBef>
              <a:buClr>
                <a:srgbClr val="EC2179"/>
              </a:buClr>
              <a:buFont typeface="Arial" charset="0"/>
              <a:buChar char="•"/>
            </a:pPr>
            <a:r>
              <a:rPr lang="en-US" dirty="0"/>
              <a:t>Erstellen Sie einen Newsletter in 3 einfachen Schritten</a:t>
            </a:r>
          </a:p>
          <a:p>
            <a:pPr marL="361950">
              <a:lnSpc>
                <a:spcPct val="100000"/>
              </a:lnSpc>
              <a:spcBef>
                <a:spcPts val="0"/>
              </a:spcBef>
              <a:buClr>
                <a:srgbClr val="EC2179"/>
              </a:buClr>
            </a:pPr>
            <a:r>
              <a:rPr lang="en-US" dirty="0"/>
              <a:t>- Liste erstellen</a:t>
            </a:r>
          </a:p>
          <a:p>
            <a:pPr marL="361950">
              <a:lnSpc>
                <a:spcPct val="100000"/>
              </a:lnSpc>
              <a:spcBef>
                <a:spcPts val="0"/>
              </a:spcBef>
              <a:buClr>
                <a:srgbClr val="EC2179"/>
              </a:buClr>
            </a:pPr>
            <a:r>
              <a:rPr lang="en-US" dirty="0"/>
              <a:t>- Design Anmeldeformular</a:t>
            </a:r>
          </a:p>
          <a:p>
            <a:pPr marL="361950">
              <a:lnSpc>
                <a:spcPct val="100000"/>
              </a:lnSpc>
              <a:spcBef>
                <a:spcPts val="0"/>
              </a:spcBef>
              <a:buClr>
                <a:srgbClr val="EC2179"/>
              </a:buClr>
            </a:pPr>
            <a:r>
              <a:rPr lang="en-US" dirty="0"/>
              <a:t>- Kampagnen erstellen und versenden</a:t>
            </a:r>
          </a:p>
          <a:p>
            <a:pPr marL="361950">
              <a:lnSpc>
                <a:spcPct val="100000"/>
              </a:lnSpc>
              <a:spcBef>
                <a:spcPts val="0"/>
              </a:spcBef>
              <a:buClr>
                <a:srgbClr val="EC2179"/>
              </a:buClr>
            </a:pPr>
            <a:r>
              <a:rPr lang="en-US" dirty="0"/>
              <a:t>- Andere sind </a:t>
            </a:r>
            <a:r>
              <a:rPr lang="en-US" dirty="0">
                <a:hlinkClick r:id="rId4"/>
              </a:rPr>
              <a:t>www.constantcontact.com </a:t>
            </a:r>
            <a:r>
              <a:rPr lang="en-US" dirty="0"/>
              <a:t>und </a:t>
            </a:r>
            <a:r>
              <a:rPr lang="en-US" dirty="0">
                <a:hlinkClick r:id="rId5"/>
              </a:rPr>
              <a:t>www.aweber.com</a:t>
            </a:r>
            <a:endParaRPr lang="en-US" dirty="0"/>
          </a:p>
          <a:p>
            <a:pPr marL="342900" indent="-342900">
              <a:lnSpc>
                <a:spcPct val="100000"/>
              </a:lnSpc>
              <a:spcBef>
                <a:spcPts val="0"/>
              </a:spcBef>
              <a:buClr>
                <a:srgbClr val="EC2179"/>
              </a:buClr>
              <a:buFont typeface="Arial" charset="0"/>
              <a:buChar char="•"/>
            </a:pPr>
            <a:endParaRPr lang="en-US" dirty="0"/>
          </a:p>
        </p:txBody>
      </p:sp>
    </p:spTree>
    <p:extLst>
      <p:ext uri="{BB962C8B-B14F-4D97-AF65-F5344CB8AC3E}">
        <p14:creationId xmlns:p14="http://schemas.microsoft.com/office/powerpoint/2010/main" val="12891683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DFEBC3-F2BA-5E67-997B-E74EC74D16B7}"/>
              </a:ext>
            </a:extLst>
          </p:cNvPr>
          <p:cNvSpPr>
            <a:spLocks noGrp="1"/>
          </p:cNvSpPr>
          <p:nvPr>
            <p:ph type="body" sz="quarter" idx="18"/>
          </p:nvPr>
        </p:nvSpPr>
        <p:spPr>
          <a:xfrm>
            <a:off x="4313970" y="1716659"/>
            <a:ext cx="6272827" cy="3849918"/>
          </a:xfrm>
        </p:spPr>
        <p:txBody>
          <a:bodyPr lIns="91440" tIns="45720" rIns="91440" bIns="45720" anchor="t"/>
          <a:lstStyle/>
          <a:p>
            <a:pPr marL="0" indent="0"/>
            <a:r>
              <a:rPr lang="en-US" sz="1800">
                <a:solidFill>
                  <a:srgbClr val="003841"/>
                </a:solidFill>
                <a:cs typeface="Calibri"/>
              </a:rPr>
              <a:t>Soziale Medien sind eines der besten Marketinginstrumente für Start-up-Unternehmen und Unternehmer. Und warum? Es ist kostenlos, man muss nur etwas Zeit und Mühe hineinstecken. Es kann Ihnen helfen, mit Kunden auf lokaler, regionaler, nationaler und sogar globaler Ebene in Kontakt zu treten!</a:t>
            </a:r>
            <a:endParaRPr lang="en-US" sz="1800">
              <a:solidFill>
                <a:srgbClr val="000000"/>
              </a:solidFill>
              <a:cs typeface="Calibri"/>
            </a:endParaRPr>
          </a:p>
          <a:p>
            <a:pPr marL="0" indent="0"/>
            <a:r>
              <a:rPr lang="en-US" sz="1800">
                <a:solidFill>
                  <a:srgbClr val="003841"/>
                </a:solidFill>
                <a:cs typeface="Calibri"/>
              </a:rPr>
              <a:t>Es gibt eine Social-Media-Plattform für jeden und jede Art von Unternehmen! Sie können mit potenziellen Kunden "Small Talk" führen und starke Kundenbeziehungen aufbauen. Hier können Sie Ihr Unternehmen von einer persönlicheren Seite zeigen, die Atmosphäre ist entspannter und die Umgangsformen sind informeller.</a:t>
            </a:r>
            <a:endParaRPr lang="en-US" sz="1800">
              <a:solidFill>
                <a:srgbClr val="000000"/>
              </a:solidFill>
              <a:cs typeface="Calibri"/>
            </a:endParaRPr>
          </a:p>
          <a:p>
            <a:endParaRPr lang="en-US" sz="1800">
              <a:cs typeface="Calibri"/>
            </a:endParaRPr>
          </a:p>
        </p:txBody>
      </p:sp>
      <p:sp>
        <p:nvSpPr>
          <p:cNvPr id="3" name="Text Placeholder 2">
            <a:extLst>
              <a:ext uri="{FF2B5EF4-FFF2-40B4-BE49-F238E27FC236}">
                <a16:creationId xmlns:a16="http://schemas.microsoft.com/office/drawing/2014/main" id="{46CE18C6-98AF-1C97-0690-31F0B480F982}"/>
              </a:ext>
            </a:extLst>
          </p:cNvPr>
          <p:cNvSpPr>
            <a:spLocks noGrp="1"/>
          </p:cNvSpPr>
          <p:nvPr>
            <p:ph type="body" sz="quarter" idx="16"/>
          </p:nvPr>
        </p:nvSpPr>
        <p:spPr/>
        <p:txBody>
          <a:bodyPr/>
          <a:lstStyle/>
          <a:p>
            <a:endParaRPr lang="en-US"/>
          </a:p>
        </p:txBody>
      </p:sp>
      <p:sp>
        <p:nvSpPr>
          <p:cNvPr id="5" name="Freeform 10">
            <a:extLst>
              <a:ext uri="{FF2B5EF4-FFF2-40B4-BE49-F238E27FC236}">
                <a16:creationId xmlns:a16="http://schemas.microsoft.com/office/drawing/2014/main" id="{85CDBBFC-A337-C5E1-59B1-C8CAFCEBB224}"/>
              </a:ext>
            </a:extLst>
          </p:cNvPr>
          <p:cNvSpPr/>
          <p:nvPr/>
        </p:nvSpPr>
        <p:spPr>
          <a:xfrm>
            <a:off x="-345" y="760927"/>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2800" dirty="0" err="1">
                <a:latin typeface="Calibri"/>
                <a:cs typeface="Calibri"/>
              </a:rPr>
              <a:t>Seien</a:t>
            </a:r>
            <a:r>
              <a:rPr lang="en-US" sz="2800" dirty="0">
                <a:latin typeface="Calibri"/>
                <a:cs typeface="Calibri"/>
              </a:rPr>
              <a:t> Sie clever in den </a:t>
            </a:r>
            <a:r>
              <a:rPr lang="en-US" sz="2800" dirty="0" err="1">
                <a:latin typeface="Calibri"/>
                <a:cs typeface="Calibri"/>
              </a:rPr>
              <a:t>sozialen</a:t>
            </a:r>
            <a:r>
              <a:rPr lang="en-US" sz="2800" dirty="0">
                <a:latin typeface="Calibri"/>
                <a:cs typeface="Calibri"/>
              </a:rPr>
              <a:t> </a:t>
            </a:r>
            <a:r>
              <a:rPr lang="en-US" sz="2800" dirty="0" err="1">
                <a:latin typeface="Calibri"/>
                <a:cs typeface="Calibri"/>
              </a:rPr>
              <a:t>Medien</a:t>
            </a:r>
            <a:endParaRPr lang="en-US" sz="2800" b="0" i="0" dirty="0">
              <a:latin typeface="Calibri" panose="020F0502020204030204" pitchFamily="34" charset="0"/>
            </a:endParaRPr>
          </a:p>
        </p:txBody>
      </p:sp>
      <p:pic>
        <p:nvPicPr>
          <p:cNvPr id="6" name="Picture 5" descr="A person&amp;#39;s hands pointing at a tablet&#10;&#10;Description automatically generated">
            <a:extLst>
              <a:ext uri="{FF2B5EF4-FFF2-40B4-BE49-F238E27FC236}">
                <a16:creationId xmlns:a16="http://schemas.microsoft.com/office/drawing/2014/main" id="{ADE44B21-2A6A-45EA-FE68-619F16A06A68}"/>
              </a:ext>
            </a:extLst>
          </p:cNvPr>
          <p:cNvPicPr>
            <a:picLocks noChangeAspect="1"/>
          </p:cNvPicPr>
          <p:nvPr/>
        </p:nvPicPr>
        <p:blipFill>
          <a:blip r:embed="rId2"/>
          <a:stretch>
            <a:fillRect/>
          </a:stretch>
        </p:blipFill>
        <p:spPr>
          <a:xfrm>
            <a:off x="796636" y="1714500"/>
            <a:ext cx="3099955" cy="3887933"/>
          </a:xfrm>
          <a:prstGeom prst="rect">
            <a:avLst/>
          </a:prstGeom>
        </p:spPr>
      </p:pic>
    </p:spTree>
    <p:extLst>
      <p:ext uri="{BB962C8B-B14F-4D97-AF65-F5344CB8AC3E}">
        <p14:creationId xmlns:p14="http://schemas.microsoft.com/office/powerpoint/2010/main" val="24304155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DFEBC3-F2BA-5E67-997B-E74EC74D16B7}"/>
              </a:ext>
            </a:extLst>
          </p:cNvPr>
          <p:cNvSpPr>
            <a:spLocks noGrp="1"/>
          </p:cNvSpPr>
          <p:nvPr>
            <p:ph type="body" sz="quarter" idx="18"/>
          </p:nvPr>
        </p:nvSpPr>
        <p:spPr>
          <a:xfrm>
            <a:off x="3588590" y="1716659"/>
            <a:ext cx="6998208" cy="3849918"/>
          </a:xfrm>
        </p:spPr>
        <p:txBody>
          <a:bodyPr lIns="91440" tIns="45720" rIns="91440" bIns="45720" anchor="t"/>
          <a:lstStyle/>
          <a:p>
            <a:pPr marL="342900" indent="-342900">
              <a:buFont typeface="Arial" panose="020B0604020202020204" pitchFamily="34" charset="0"/>
              <a:buChar char="•"/>
            </a:pPr>
            <a:r>
              <a:rPr lang="en-US" sz="1800" dirty="0">
                <a:cs typeface="Calibri"/>
              </a:rPr>
              <a:t>Ermitteln Sie die sozialen Medienplattformen, die Ihre idealen Kunden bevorzugen - das sind die Kanäle, denen Sie Priorität einräumen</a:t>
            </a:r>
          </a:p>
          <a:p>
            <a:pPr marL="342900" indent="-342900">
              <a:buFont typeface="Arial" panose="020B0604020202020204" pitchFamily="34" charset="0"/>
              <a:buChar char="•"/>
            </a:pPr>
            <a:r>
              <a:rPr lang="en-US" sz="1800" dirty="0">
                <a:cs typeface="Calibri"/>
              </a:rPr>
              <a:t>Recherchieren Sie relevante Hashtags, um Ihre Inhalte an die richtigen Leute zu bringen</a:t>
            </a:r>
          </a:p>
          <a:p>
            <a:pPr marL="342900" indent="-342900">
              <a:buFont typeface="Arial" panose="020B0604020202020204" pitchFamily="34" charset="0"/>
              <a:buChar char="•"/>
            </a:pPr>
            <a:r>
              <a:rPr lang="en-US" sz="1800" dirty="0">
                <a:cs typeface="Calibri"/>
              </a:rPr>
              <a:t>Jeder Beitrag muss ein hochwertiges Bild, eine Schlüsselbotschaft und eine Aufforderung zum Handeln enthalten (z. B. einen Kommentar hinzufügen, auf unsere Website klicken, ein Angebot in Anspruch nehmen usw.).</a:t>
            </a:r>
          </a:p>
          <a:p>
            <a:pPr marL="342900" indent="-342900">
              <a:buFont typeface="Arial" panose="020B0604020202020204" pitchFamily="34" charset="0"/>
              <a:buChar char="•"/>
            </a:pPr>
            <a:r>
              <a:rPr lang="en-US" sz="1800" dirty="0">
                <a:cs typeface="Calibri"/>
              </a:rPr>
              <a:t>Beobachten Sie Ihre Analysen und erfahren Sie, wann und an welchen Tagen Sie am besten posten und welche Art von Beiträgen Ihre idealen Kunden am ehesten anklicken.</a:t>
            </a:r>
          </a:p>
          <a:p>
            <a:pPr marL="342900" indent="-342900">
              <a:buFont typeface="Arial" panose="020B0604020202020204" pitchFamily="34" charset="0"/>
              <a:buChar char="•"/>
            </a:pPr>
            <a:endParaRPr lang="en-US" sz="1800" dirty="0">
              <a:cs typeface="Calibri"/>
            </a:endParaRPr>
          </a:p>
        </p:txBody>
      </p:sp>
      <p:sp>
        <p:nvSpPr>
          <p:cNvPr id="3" name="Text Placeholder 2">
            <a:extLst>
              <a:ext uri="{FF2B5EF4-FFF2-40B4-BE49-F238E27FC236}">
                <a16:creationId xmlns:a16="http://schemas.microsoft.com/office/drawing/2014/main" id="{46CE18C6-98AF-1C97-0690-31F0B480F982}"/>
              </a:ext>
            </a:extLst>
          </p:cNvPr>
          <p:cNvSpPr>
            <a:spLocks noGrp="1"/>
          </p:cNvSpPr>
          <p:nvPr>
            <p:ph type="body" sz="quarter" idx="16"/>
          </p:nvPr>
        </p:nvSpPr>
        <p:spPr/>
        <p:txBody>
          <a:bodyPr/>
          <a:lstStyle/>
          <a:p>
            <a:endParaRPr lang="en-US"/>
          </a:p>
        </p:txBody>
      </p:sp>
      <p:sp>
        <p:nvSpPr>
          <p:cNvPr id="5" name="Freeform 10">
            <a:extLst>
              <a:ext uri="{FF2B5EF4-FFF2-40B4-BE49-F238E27FC236}">
                <a16:creationId xmlns:a16="http://schemas.microsoft.com/office/drawing/2014/main" id="{85CDBBFC-A337-C5E1-59B1-C8CAFCEBB224}"/>
              </a:ext>
            </a:extLst>
          </p:cNvPr>
          <p:cNvSpPr/>
          <p:nvPr/>
        </p:nvSpPr>
        <p:spPr>
          <a:xfrm>
            <a:off x="-345" y="760927"/>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2800" dirty="0" err="1">
                <a:latin typeface="Calibri"/>
                <a:cs typeface="Calibri"/>
              </a:rPr>
              <a:t>Seien</a:t>
            </a:r>
            <a:r>
              <a:rPr lang="en-US" sz="2800" dirty="0">
                <a:latin typeface="Calibri"/>
                <a:cs typeface="Calibri"/>
              </a:rPr>
              <a:t> Sie clever in den </a:t>
            </a:r>
            <a:r>
              <a:rPr lang="en-US" sz="2800" dirty="0" err="1">
                <a:latin typeface="Calibri"/>
                <a:cs typeface="Calibri"/>
              </a:rPr>
              <a:t>sozialen</a:t>
            </a:r>
            <a:r>
              <a:rPr lang="en-US" sz="2800" dirty="0">
                <a:latin typeface="Calibri"/>
                <a:cs typeface="Calibri"/>
              </a:rPr>
              <a:t> </a:t>
            </a:r>
            <a:r>
              <a:rPr lang="en-US" sz="2800" dirty="0" err="1">
                <a:latin typeface="Calibri"/>
                <a:cs typeface="Calibri"/>
              </a:rPr>
              <a:t>Medien</a:t>
            </a:r>
            <a:endParaRPr lang="en-US" sz="2800" b="0" i="0" dirty="0">
              <a:latin typeface="Calibri" panose="020F0502020204030204" pitchFamily="34" charset="0"/>
            </a:endParaRPr>
          </a:p>
        </p:txBody>
      </p:sp>
      <p:pic>
        <p:nvPicPr>
          <p:cNvPr id="6" name="Picture 5" descr="A person&amp;#39;s hands pointing at a tablet&#10;&#10;Description automatically generated">
            <a:extLst>
              <a:ext uri="{FF2B5EF4-FFF2-40B4-BE49-F238E27FC236}">
                <a16:creationId xmlns:a16="http://schemas.microsoft.com/office/drawing/2014/main" id="{ADE44B21-2A6A-45EA-FE68-619F16A06A68}"/>
              </a:ext>
            </a:extLst>
          </p:cNvPr>
          <p:cNvPicPr>
            <a:picLocks noChangeAspect="1"/>
          </p:cNvPicPr>
          <p:nvPr/>
        </p:nvPicPr>
        <p:blipFill>
          <a:blip r:embed="rId2"/>
          <a:stretch>
            <a:fillRect/>
          </a:stretch>
        </p:blipFill>
        <p:spPr>
          <a:xfrm>
            <a:off x="796636" y="1714500"/>
            <a:ext cx="3099955" cy="3887933"/>
          </a:xfrm>
          <a:prstGeom prst="rect">
            <a:avLst/>
          </a:prstGeom>
        </p:spPr>
      </p:pic>
    </p:spTree>
    <p:extLst>
      <p:ext uri="{BB962C8B-B14F-4D97-AF65-F5344CB8AC3E}">
        <p14:creationId xmlns:p14="http://schemas.microsoft.com/office/powerpoint/2010/main" val="7455336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0">
            <a:extLst>
              <a:ext uri="{FF2B5EF4-FFF2-40B4-BE49-F238E27FC236}">
                <a16:creationId xmlns:a16="http://schemas.microsoft.com/office/drawing/2014/main" id="{81E5307D-B018-999C-F29C-D700CE67674E}"/>
              </a:ext>
            </a:extLst>
          </p:cNvPr>
          <p:cNvSpPr/>
          <p:nvPr/>
        </p:nvSpPr>
        <p:spPr>
          <a:xfrm>
            <a:off x="-345" y="466518"/>
            <a:ext cx="850198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AA29D7F3-46C6-A1EC-BCFF-C66B6156A8D4}"/>
              </a:ext>
            </a:extLst>
          </p:cNvPr>
          <p:cNvSpPr>
            <a:spLocks noGrp="1"/>
          </p:cNvSpPr>
          <p:nvPr>
            <p:ph type="body" sz="quarter" idx="18"/>
          </p:nvPr>
        </p:nvSpPr>
        <p:spPr>
          <a:xfrm>
            <a:off x="986287" y="2025989"/>
            <a:ext cx="10479218" cy="3440624"/>
          </a:xfrm>
        </p:spPr>
        <p:txBody>
          <a:bodyPr lIns="91440" tIns="45720" rIns="91440" bIns="45720" anchor="t"/>
          <a:lstStyle/>
          <a:p>
            <a:pPr marL="342900" indent="-342900">
              <a:spcBef>
                <a:spcPts val="1400"/>
              </a:spcBef>
              <a:buFont typeface="Arial,Sans-Serif"/>
              <a:buChar char="•"/>
            </a:pPr>
            <a:r>
              <a:rPr lang="en-US" dirty="0">
                <a:cs typeface="Calibri"/>
              </a:rPr>
              <a:t>Die Online-Werbung für Ihre Marke trägt dazu bei, dass Ihr Unternehmen weithin bekannt wird und sein Angebot bekannt ist.</a:t>
            </a:r>
          </a:p>
          <a:p>
            <a:pPr marL="342900" indent="-342900">
              <a:spcBef>
                <a:spcPts val="1400"/>
              </a:spcBef>
              <a:buFont typeface="Arial,Sans-Serif"/>
              <a:buChar char="•"/>
            </a:pPr>
            <a:r>
              <a:rPr lang="en-US" dirty="0">
                <a:cs typeface="Calibri"/>
              </a:rPr>
              <a:t>Der Aufbau Ihrer Online-Marke bietet uns sofortige Möglichkeiten, Sympathie zu schaffen und das Wachstum einer Fangemeinde zu fördern.</a:t>
            </a:r>
          </a:p>
          <a:p>
            <a:pPr marL="342900" indent="-342900">
              <a:spcBef>
                <a:spcPts val="1400"/>
              </a:spcBef>
              <a:buFont typeface="Arial,Sans-Serif"/>
              <a:buChar char="•"/>
            </a:pPr>
            <a:r>
              <a:rPr lang="en-US" dirty="0">
                <a:cs typeface="Calibri"/>
              </a:rPr>
              <a:t>Der Aufbau einer Online-Marke steigert Ihre Glaubwürdigkeit, weil Sie sich der Welt präsentieren können.</a:t>
            </a:r>
          </a:p>
          <a:p>
            <a:pPr marL="342900" indent="-342900">
              <a:spcBef>
                <a:spcPts val="1400"/>
              </a:spcBef>
              <a:buFont typeface="Arial,Sans-Serif"/>
              <a:buChar char="•"/>
            </a:pPr>
            <a:r>
              <a:rPr lang="en-US" dirty="0">
                <a:cs typeface="Calibri"/>
              </a:rPr>
              <a:t>Der Aufbau einer Online-Marke ermöglicht es Ihnen, Vertrauen zu gewinnen - der wichtigste Teil des "Verkaufsprozesses" - was zu mehr Interessenten, mehr Kunden und mehr Gewinn führt!</a:t>
            </a:r>
          </a:p>
        </p:txBody>
      </p:sp>
      <p:sp>
        <p:nvSpPr>
          <p:cNvPr id="3" name="Text Placeholder 2">
            <a:extLst>
              <a:ext uri="{FF2B5EF4-FFF2-40B4-BE49-F238E27FC236}">
                <a16:creationId xmlns:a16="http://schemas.microsoft.com/office/drawing/2014/main" id="{1895BBF7-1CF5-9D08-7C60-11E20EBA542D}"/>
              </a:ext>
            </a:extLst>
          </p:cNvPr>
          <p:cNvSpPr>
            <a:spLocks noGrp="1"/>
          </p:cNvSpPr>
          <p:nvPr>
            <p:ph type="body" sz="quarter" idx="16"/>
          </p:nvPr>
        </p:nvSpPr>
        <p:spPr/>
        <p:txBody>
          <a:bodyPr lIns="91440" tIns="45720" rIns="91440" bIns="45720" anchor="t">
            <a:noAutofit/>
          </a:bodyPr>
          <a:lstStyle/>
          <a:p>
            <a:r>
              <a:rPr lang="en-US">
                <a:solidFill>
                  <a:schemeClr val="bg1"/>
                </a:solidFill>
                <a:cs typeface="Calibri"/>
              </a:rPr>
              <a:t>Bauen Sie Ihre Marke online auf</a:t>
            </a:r>
            <a:endParaRPr lang="en-US">
              <a:solidFill>
                <a:schemeClr val="bg1"/>
              </a:solidFill>
            </a:endParaRPr>
          </a:p>
        </p:txBody>
      </p:sp>
    </p:spTree>
    <p:extLst>
      <p:ext uri="{BB962C8B-B14F-4D97-AF65-F5344CB8AC3E}">
        <p14:creationId xmlns:p14="http://schemas.microsoft.com/office/powerpoint/2010/main" val="6698008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0">
            <a:extLst>
              <a:ext uri="{FF2B5EF4-FFF2-40B4-BE49-F238E27FC236}">
                <a16:creationId xmlns:a16="http://schemas.microsoft.com/office/drawing/2014/main" id="{662DA26A-80C4-187B-66FE-EA0E1187C45C}"/>
              </a:ext>
            </a:extLst>
          </p:cNvPr>
          <p:cNvSpPr/>
          <p:nvPr/>
        </p:nvSpPr>
        <p:spPr>
          <a:xfrm>
            <a:off x="2432" y="467662"/>
            <a:ext cx="721002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B613B262-69DF-49EC-9F53-8C28E1E4973E}"/>
              </a:ext>
            </a:extLst>
          </p:cNvPr>
          <p:cNvSpPr>
            <a:spLocks noGrp="1"/>
          </p:cNvSpPr>
          <p:nvPr>
            <p:ph type="body" sz="quarter" idx="18"/>
          </p:nvPr>
        </p:nvSpPr>
        <p:spPr/>
        <p:txBody>
          <a:bodyPr lIns="91440" tIns="45720" rIns="91440" bIns="45720" anchor="t"/>
          <a:lstStyle/>
          <a:p>
            <a:pPr marL="342900" indent="-342900">
              <a:spcBef>
                <a:spcPts val="1200"/>
              </a:spcBef>
              <a:buFont typeface="Arial,Sans-Serif"/>
              <a:buChar char="•"/>
            </a:pPr>
            <a:r>
              <a:rPr lang="en-IE" dirty="0">
                <a:cs typeface="Calibri"/>
              </a:rPr>
              <a:t>Alle Zutaten für großartige Inhalte sind um Sie herum!</a:t>
            </a:r>
            <a:endParaRPr lang="en-US" dirty="0">
              <a:cs typeface="Calibri"/>
            </a:endParaRPr>
          </a:p>
          <a:p>
            <a:pPr marL="342900" indent="-342900">
              <a:spcBef>
                <a:spcPts val="1200"/>
              </a:spcBef>
              <a:buFont typeface="Arial,Sans-Serif"/>
              <a:buChar char="•"/>
            </a:pPr>
            <a:r>
              <a:rPr lang="en-IE" dirty="0">
                <a:cs typeface="Calibri"/>
              </a:rPr>
              <a:t>Ein improvisiertes Video von Ihrer Werkstatt/Küche kann in ein YouTube-Video "Hinter den Kulissen" verwandelt werden.  </a:t>
            </a:r>
            <a:endParaRPr lang="en-US" dirty="0">
              <a:cs typeface="Calibri"/>
            </a:endParaRPr>
          </a:p>
          <a:p>
            <a:pPr marL="342900" indent="-342900">
              <a:spcBef>
                <a:spcPts val="1200"/>
              </a:spcBef>
              <a:buFont typeface="Arial,Sans-Serif"/>
              <a:buChar char="•"/>
            </a:pPr>
            <a:r>
              <a:rPr lang="en-IE" dirty="0">
                <a:cs typeface="Calibri"/>
              </a:rPr>
              <a:t>Vorbereitungsarbeiten für eine Verkaufssitzung/Präsentation können in einen fesselnden Einblick in die Branche umgewandelt werden</a:t>
            </a:r>
            <a:endParaRPr lang="en-US" dirty="0">
              <a:cs typeface="Calibri"/>
            </a:endParaRPr>
          </a:p>
          <a:p>
            <a:pPr marL="342900" indent="-342900">
              <a:spcBef>
                <a:spcPts val="1200"/>
              </a:spcBef>
              <a:buFont typeface="Arial,Sans-Serif"/>
              <a:buChar char="•"/>
            </a:pPr>
            <a:r>
              <a:rPr lang="en-IE" dirty="0">
                <a:cs typeface="Calibri"/>
              </a:rPr>
              <a:t>Kundenfallstudien können in aufschlussreiche Blogbeiträge verwandelt werden</a:t>
            </a:r>
            <a:endParaRPr lang="en-US" dirty="0"/>
          </a:p>
        </p:txBody>
      </p:sp>
      <p:sp>
        <p:nvSpPr>
          <p:cNvPr id="3" name="Text Placeholder 2">
            <a:extLst>
              <a:ext uri="{FF2B5EF4-FFF2-40B4-BE49-F238E27FC236}">
                <a16:creationId xmlns:a16="http://schemas.microsoft.com/office/drawing/2014/main" id="{A1B74ACB-BA0A-9805-EE73-C374817B6449}"/>
              </a:ext>
            </a:extLst>
          </p:cNvPr>
          <p:cNvSpPr>
            <a:spLocks noGrp="1"/>
          </p:cNvSpPr>
          <p:nvPr>
            <p:ph type="body" sz="quarter" idx="16"/>
          </p:nvPr>
        </p:nvSpPr>
        <p:spPr/>
        <p:txBody>
          <a:bodyPr lIns="91440" tIns="45720" rIns="91440" bIns="45720" anchor="t">
            <a:noAutofit/>
          </a:bodyPr>
          <a:lstStyle/>
          <a:p>
            <a:r>
              <a:rPr lang="en-US">
                <a:solidFill>
                  <a:schemeClr val="bg1"/>
                </a:solidFill>
                <a:cs typeface="Calibri"/>
              </a:rPr>
              <a:t>Bauen Sie Ihre Marke online auf</a:t>
            </a:r>
            <a:endParaRPr lang="en-US">
              <a:solidFill>
                <a:schemeClr val="bg1"/>
              </a:solidFill>
            </a:endParaRPr>
          </a:p>
        </p:txBody>
      </p:sp>
    </p:spTree>
    <p:extLst>
      <p:ext uri="{BB962C8B-B14F-4D97-AF65-F5344CB8AC3E}">
        <p14:creationId xmlns:p14="http://schemas.microsoft.com/office/powerpoint/2010/main" val="27348596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3155D1-55B0-AF3B-34BB-783F7EFCDA0D}"/>
              </a:ext>
            </a:extLst>
          </p:cNvPr>
          <p:cNvSpPr>
            <a:spLocks noGrp="1"/>
          </p:cNvSpPr>
          <p:nvPr>
            <p:ph type="body" sz="quarter" idx="16"/>
          </p:nvPr>
        </p:nvSpPr>
        <p:spPr/>
        <p:txBody>
          <a:bodyPr lIns="91440" tIns="45720" rIns="91440" bIns="45720" anchor="t">
            <a:normAutofit/>
          </a:bodyPr>
          <a:lstStyle/>
          <a:p>
            <a:r>
              <a:rPr lang="en-US" dirty="0">
                <a:ea typeface="Calibri"/>
                <a:cs typeface="Calibri"/>
              </a:rPr>
              <a:t>Machen Sie den Verkauf!</a:t>
            </a:r>
            <a:endParaRPr lang="en-US" dirty="0"/>
          </a:p>
        </p:txBody>
      </p:sp>
      <p:sp>
        <p:nvSpPr>
          <p:cNvPr id="3" name="Text Placeholder 2">
            <a:extLst>
              <a:ext uri="{FF2B5EF4-FFF2-40B4-BE49-F238E27FC236}">
                <a16:creationId xmlns:a16="http://schemas.microsoft.com/office/drawing/2014/main" id="{7FC3AB9A-F852-71DC-57DF-683A7631C138}"/>
              </a:ext>
            </a:extLst>
          </p:cNvPr>
          <p:cNvSpPr>
            <a:spLocks noGrp="1"/>
          </p:cNvSpPr>
          <p:nvPr>
            <p:ph type="body" sz="quarter" idx="17"/>
          </p:nvPr>
        </p:nvSpPr>
        <p:spPr/>
        <p:txBody>
          <a:bodyPr lIns="91440" tIns="45720" rIns="91440" bIns="45720" anchor="t">
            <a:noAutofit/>
          </a:bodyPr>
          <a:lstStyle/>
          <a:p>
            <a:r>
              <a:rPr lang="en-US">
                <a:ea typeface="Calibri"/>
                <a:cs typeface="Calibri"/>
              </a:rPr>
              <a:t>05</a:t>
            </a:r>
            <a:endParaRPr lang="en-US"/>
          </a:p>
        </p:txBody>
      </p:sp>
    </p:spTree>
    <p:extLst>
      <p:ext uri="{BB962C8B-B14F-4D97-AF65-F5344CB8AC3E}">
        <p14:creationId xmlns:p14="http://schemas.microsoft.com/office/powerpoint/2010/main" val="2978942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Die Beziehung zwischen Marketing und Vertrieb</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a:t>01</a:t>
            </a:r>
          </a:p>
        </p:txBody>
      </p:sp>
    </p:spTree>
    <p:extLst>
      <p:ext uri="{BB962C8B-B14F-4D97-AF65-F5344CB8AC3E}">
        <p14:creationId xmlns:p14="http://schemas.microsoft.com/office/powerpoint/2010/main" val="13291860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0">
            <a:extLst>
              <a:ext uri="{FF2B5EF4-FFF2-40B4-BE49-F238E27FC236}">
                <a16:creationId xmlns:a16="http://schemas.microsoft.com/office/drawing/2014/main" id="{61E0160D-D27B-6216-FD7D-8F5CC2FFE801}"/>
              </a:ext>
            </a:extLst>
          </p:cNvPr>
          <p:cNvSpPr/>
          <p:nvPr/>
        </p:nvSpPr>
        <p:spPr>
          <a:xfrm>
            <a:off x="2433" y="769586"/>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2" name="Text Placeholder 1">
            <a:extLst>
              <a:ext uri="{FF2B5EF4-FFF2-40B4-BE49-F238E27FC236}">
                <a16:creationId xmlns:a16="http://schemas.microsoft.com/office/drawing/2014/main" id="{16791E75-2E5D-11FB-EF4C-50A97A1C8BD6}"/>
              </a:ext>
            </a:extLst>
          </p:cNvPr>
          <p:cNvSpPr>
            <a:spLocks noGrp="1"/>
          </p:cNvSpPr>
          <p:nvPr>
            <p:ph type="body" sz="quarter" idx="18"/>
          </p:nvPr>
        </p:nvSpPr>
        <p:spPr>
          <a:xfrm>
            <a:off x="629572" y="1996609"/>
            <a:ext cx="4959913" cy="3849918"/>
          </a:xfrm>
        </p:spPr>
        <p:txBody>
          <a:bodyPr lIns="91440" tIns="45720" rIns="91440" bIns="45720" anchor="t"/>
          <a:lstStyle/>
          <a:p>
            <a:pPr marL="0" indent="0"/>
            <a:r>
              <a:rPr lang="en-US" dirty="0">
                <a:solidFill>
                  <a:srgbClr val="003841"/>
                </a:solidFill>
                <a:ea typeface="Calibri"/>
                <a:cs typeface="Calibri"/>
              </a:rPr>
              <a:t>Manchmal ist der Verkauf der Bereich des Unternehmens, der für Gründer die größte Herausforderung darstellt. </a:t>
            </a:r>
            <a:endParaRPr lang="en-US" dirty="0"/>
          </a:p>
          <a:p>
            <a:pPr marL="0" indent="0"/>
            <a:r>
              <a:rPr lang="en-US" dirty="0">
                <a:solidFill>
                  <a:srgbClr val="003841"/>
                </a:solidFill>
                <a:ea typeface="Calibri"/>
                <a:cs typeface="Calibri"/>
              </a:rPr>
              <a:t>Aber lassen Sie uns von Gründern hören, die ihre besten Tipps für den Erfolg weitergeben. </a:t>
            </a:r>
            <a:endParaRPr lang="en-US" dirty="0"/>
          </a:p>
          <a:p>
            <a:endParaRPr lang="en-US" dirty="0">
              <a:ea typeface="Calibri"/>
              <a:cs typeface="Calibri"/>
            </a:endParaRPr>
          </a:p>
        </p:txBody>
      </p:sp>
      <p:sp>
        <p:nvSpPr>
          <p:cNvPr id="3" name="Text Placeholder 2">
            <a:extLst>
              <a:ext uri="{FF2B5EF4-FFF2-40B4-BE49-F238E27FC236}">
                <a16:creationId xmlns:a16="http://schemas.microsoft.com/office/drawing/2014/main" id="{F9329D8B-1520-2171-BB80-18F0A600424F}"/>
              </a:ext>
            </a:extLst>
          </p:cNvPr>
          <p:cNvSpPr>
            <a:spLocks noGrp="1"/>
          </p:cNvSpPr>
          <p:nvPr>
            <p:ph type="body" sz="quarter" idx="16"/>
          </p:nvPr>
        </p:nvSpPr>
        <p:spPr>
          <a:xfrm>
            <a:off x="798381" y="905377"/>
            <a:ext cx="5520629" cy="803654"/>
          </a:xfrm>
        </p:spPr>
        <p:txBody>
          <a:bodyPr lIns="91440" tIns="45720" rIns="91440" bIns="45720" anchor="t">
            <a:noAutofit/>
          </a:bodyPr>
          <a:lstStyle/>
          <a:p>
            <a:r>
              <a:rPr lang="en-US">
                <a:solidFill>
                  <a:schemeClr val="bg1"/>
                </a:solidFill>
                <a:ea typeface="Calibri"/>
                <a:cs typeface="Calibri"/>
              </a:rPr>
              <a:t>Einstieg in den Verkauf</a:t>
            </a:r>
          </a:p>
        </p:txBody>
      </p:sp>
      <p:pic>
        <p:nvPicPr>
          <p:cNvPr id="4" name="Picture 5" descr="Person working late at the office">
            <a:extLst>
              <a:ext uri="{FF2B5EF4-FFF2-40B4-BE49-F238E27FC236}">
                <a16:creationId xmlns:a16="http://schemas.microsoft.com/office/drawing/2014/main" id="{EF6F1BAA-E6DB-99FD-B2C4-B18C1E63C234}"/>
              </a:ext>
            </a:extLst>
          </p:cNvPr>
          <p:cNvPicPr>
            <a:picLocks noChangeAspect="1"/>
          </p:cNvPicPr>
          <p:nvPr/>
        </p:nvPicPr>
        <p:blipFill>
          <a:blip r:embed="rId2"/>
          <a:stretch>
            <a:fillRect/>
          </a:stretch>
        </p:blipFill>
        <p:spPr>
          <a:xfrm>
            <a:off x="5589485" y="2045704"/>
            <a:ext cx="4805345" cy="3206469"/>
          </a:xfrm>
          <a:prstGeom prst="rect">
            <a:avLst/>
          </a:prstGeom>
        </p:spPr>
      </p:pic>
    </p:spTree>
    <p:extLst>
      <p:ext uri="{BB962C8B-B14F-4D97-AF65-F5344CB8AC3E}">
        <p14:creationId xmlns:p14="http://schemas.microsoft.com/office/powerpoint/2010/main" val="9476155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D65C31-892D-C4E8-15AD-79DBBB9063FF}"/>
              </a:ext>
            </a:extLst>
          </p:cNvPr>
          <p:cNvSpPr>
            <a:spLocks noGrp="1"/>
          </p:cNvSpPr>
          <p:nvPr>
            <p:ph type="body" sz="quarter" idx="35"/>
          </p:nvPr>
        </p:nvSpPr>
        <p:spPr>
          <a:xfrm>
            <a:off x="4912292" y="756845"/>
            <a:ext cx="6562677" cy="339415"/>
          </a:xfrm>
        </p:spPr>
        <p:txBody>
          <a:bodyPr lIns="91440" tIns="45720" rIns="91440" bIns="45720" anchor="t">
            <a:noAutofit/>
          </a:bodyPr>
          <a:lstStyle/>
          <a:p>
            <a:r>
              <a:rPr lang="en-US" dirty="0">
                <a:solidFill>
                  <a:srgbClr val="DE0A1D"/>
                </a:solidFill>
                <a:latin typeface="Calibri"/>
                <a:ea typeface="Calibri"/>
                <a:cs typeface="Calibri"/>
              </a:rPr>
              <a:t>Menschen kaufen von Menschen</a:t>
            </a:r>
            <a:endParaRPr lang="en-US" dirty="0">
              <a:solidFill>
                <a:srgbClr val="DE0A1D"/>
              </a:solidFill>
              <a:ea typeface="Calibri"/>
            </a:endParaRPr>
          </a:p>
        </p:txBody>
      </p:sp>
      <p:sp>
        <p:nvSpPr>
          <p:cNvPr id="3" name="Text Placeholder 2">
            <a:extLst>
              <a:ext uri="{FF2B5EF4-FFF2-40B4-BE49-F238E27FC236}">
                <a16:creationId xmlns:a16="http://schemas.microsoft.com/office/drawing/2014/main" id="{174084B9-AECC-E33E-904E-E9B668D10310}"/>
              </a:ext>
            </a:extLst>
          </p:cNvPr>
          <p:cNvSpPr>
            <a:spLocks noGrp="1"/>
          </p:cNvSpPr>
          <p:nvPr>
            <p:ph type="body" sz="quarter" idx="36"/>
          </p:nvPr>
        </p:nvSpPr>
        <p:spPr>
          <a:xfrm>
            <a:off x="4927790" y="1236308"/>
            <a:ext cx="6754517" cy="999383"/>
          </a:xfrm>
        </p:spPr>
        <p:txBody>
          <a:bodyPr lIns="91440" tIns="45720" rIns="91440" bIns="45720" anchor="t">
            <a:noAutofit/>
          </a:bodyPr>
          <a:lstStyle/>
          <a:p>
            <a:r>
              <a:rPr lang="en-US" sz="2000" dirty="0">
                <a:solidFill>
                  <a:srgbClr val="003841"/>
                </a:solidFill>
                <a:ea typeface="Calibri"/>
              </a:rPr>
              <a:t>Keiner kennt Ihr Produkt/Ihre Dienstleistung so gut wie Sie selbst. Lassen Sie Ihre natürliche Begeisterung durchscheinen. Sie ist ansteckend. </a:t>
            </a:r>
            <a:endParaRPr lang="en-US" sz="2000" dirty="0"/>
          </a:p>
          <a:p>
            <a:endParaRPr lang="en-US" sz="2000" dirty="0">
              <a:ea typeface="Calibri"/>
            </a:endParaRPr>
          </a:p>
        </p:txBody>
      </p:sp>
      <p:sp>
        <p:nvSpPr>
          <p:cNvPr id="4" name="Text Placeholder 3">
            <a:extLst>
              <a:ext uri="{FF2B5EF4-FFF2-40B4-BE49-F238E27FC236}">
                <a16:creationId xmlns:a16="http://schemas.microsoft.com/office/drawing/2014/main" id="{C14E24BD-41D5-46D2-CB8A-F83B3EC93889}"/>
              </a:ext>
            </a:extLst>
          </p:cNvPr>
          <p:cNvSpPr>
            <a:spLocks noGrp="1"/>
          </p:cNvSpPr>
          <p:nvPr>
            <p:ph type="body" sz="quarter" idx="37"/>
          </p:nvPr>
        </p:nvSpPr>
        <p:spPr/>
        <p:txBody>
          <a:bodyPr/>
          <a:lstStyle/>
          <a:p>
            <a:endParaRPr lang="en-US"/>
          </a:p>
        </p:txBody>
      </p:sp>
      <p:sp>
        <p:nvSpPr>
          <p:cNvPr id="6" name="Text Placeholder 5">
            <a:extLst>
              <a:ext uri="{FF2B5EF4-FFF2-40B4-BE49-F238E27FC236}">
                <a16:creationId xmlns:a16="http://schemas.microsoft.com/office/drawing/2014/main" id="{E61D5A69-0BD8-75DE-3FEA-73017A57756B}"/>
              </a:ext>
            </a:extLst>
          </p:cNvPr>
          <p:cNvSpPr>
            <a:spLocks noGrp="1"/>
          </p:cNvSpPr>
          <p:nvPr>
            <p:ph type="body" sz="quarter" idx="42"/>
          </p:nvPr>
        </p:nvSpPr>
        <p:spPr/>
        <p:txBody>
          <a:bodyPr lIns="91440" tIns="45720" rIns="91440" bIns="45720" anchor="t">
            <a:noAutofit/>
          </a:bodyPr>
          <a:lstStyle/>
          <a:p>
            <a:r>
              <a:rPr lang="en-US">
                <a:solidFill>
                  <a:srgbClr val="DE0A1D"/>
                </a:solidFill>
                <a:latin typeface="Calibri"/>
                <a:ea typeface="Calibri"/>
                <a:cs typeface="Calibri"/>
              </a:rPr>
              <a:t>Das richtige Timing</a:t>
            </a:r>
            <a:endParaRPr lang="en-US">
              <a:solidFill>
                <a:srgbClr val="DE0A1D"/>
              </a:solidFill>
              <a:ea typeface="Calibri"/>
            </a:endParaRPr>
          </a:p>
        </p:txBody>
      </p:sp>
      <p:sp>
        <p:nvSpPr>
          <p:cNvPr id="7" name="Text Placeholder 6">
            <a:extLst>
              <a:ext uri="{FF2B5EF4-FFF2-40B4-BE49-F238E27FC236}">
                <a16:creationId xmlns:a16="http://schemas.microsoft.com/office/drawing/2014/main" id="{2184863C-FA28-47A7-B4F0-5D2963F417C1}"/>
              </a:ext>
            </a:extLst>
          </p:cNvPr>
          <p:cNvSpPr>
            <a:spLocks noGrp="1"/>
          </p:cNvSpPr>
          <p:nvPr>
            <p:ph type="body" sz="quarter" idx="43"/>
          </p:nvPr>
        </p:nvSpPr>
        <p:spPr/>
        <p:txBody>
          <a:bodyPr lIns="91440" tIns="45720" rIns="91440" bIns="45720" anchor="t">
            <a:noAutofit/>
          </a:bodyPr>
          <a:lstStyle/>
          <a:p>
            <a:pPr algn="ctr"/>
            <a:r>
              <a:rPr lang="en-US" sz="2000" dirty="0">
                <a:solidFill>
                  <a:srgbClr val="003841"/>
                </a:solidFill>
                <a:ea typeface="Calibri"/>
              </a:rPr>
              <a:t>"Ist das ein guter Zeitpunkt für ein Gespräch? Wenn nicht, können wir uns vielleicht an einem anderen Tag treffen".</a:t>
            </a:r>
            <a:endParaRPr lang="en-US" sz="2000" dirty="0"/>
          </a:p>
          <a:p>
            <a:endParaRPr lang="en-US" sz="2000" dirty="0">
              <a:ea typeface="Calibri"/>
            </a:endParaRPr>
          </a:p>
        </p:txBody>
      </p:sp>
      <p:sp>
        <p:nvSpPr>
          <p:cNvPr id="8" name="Text Placeholder 7">
            <a:extLst>
              <a:ext uri="{FF2B5EF4-FFF2-40B4-BE49-F238E27FC236}">
                <a16:creationId xmlns:a16="http://schemas.microsoft.com/office/drawing/2014/main" id="{07C24723-32AE-4C4F-97CB-D13AC0791B33}"/>
              </a:ext>
            </a:extLst>
          </p:cNvPr>
          <p:cNvSpPr>
            <a:spLocks noGrp="1"/>
          </p:cNvSpPr>
          <p:nvPr>
            <p:ph type="body" sz="quarter" idx="44"/>
          </p:nvPr>
        </p:nvSpPr>
        <p:spPr/>
        <p:txBody>
          <a:bodyPr/>
          <a:lstStyle/>
          <a:p>
            <a:endParaRPr lang="en-US"/>
          </a:p>
        </p:txBody>
      </p:sp>
      <p:sp>
        <p:nvSpPr>
          <p:cNvPr id="9" name="Text Placeholder 8">
            <a:extLst>
              <a:ext uri="{FF2B5EF4-FFF2-40B4-BE49-F238E27FC236}">
                <a16:creationId xmlns:a16="http://schemas.microsoft.com/office/drawing/2014/main" id="{4768FB33-7969-AB7F-7F9D-1A8048115D73}"/>
              </a:ext>
            </a:extLst>
          </p:cNvPr>
          <p:cNvSpPr>
            <a:spLocks noGrp="1"/>
          </p:cNvSpPr>
          <p:nvPr>
            <p:ph type="body" sz="quarter" idx="45"/>
          </p:nvPr>
        </p:nvSpPr>
        <p:spPr>
          <a:xfrm>
            <a:off x="4927790" y="4461305"/>
            <a:ext cx="6562677" cy="339415"/>
          </a:xfrm>
        </p:spPr>
        <p:txBody>
          <a:bodyPr lIns="91440" tIns="45720" rIns="91440" bIns="45720" anchor="t">
            <a:noAutofit/>
          </a:bodyPr>
          <a:lstStyle/>
          <a:p>
            <a:r>
              <a:rPr lang="en-US">
                <a:solidFill>
                  <a:srgbClr val="DE0A1D"/>
                </a:solidFill>
                <a:latin typeface="Calibri"/>
                <a:ea typeface="Calibri"/>
                <a:cs typeface="Calibri"/>
              </a:rPr>
              <a:t>Offen, ehrlich und transparent sein</a:t>
            </a:r>
            <a:endParaRPr lang="en-US">
              <a:solidFill>
                <a:srgbClr val="DE0A1D"/>
              </a:solidFill>
              <a:ea typeface="Calibri"/>
            </a:endParaRPr>
          </a:p>
        </p:txBody>
      </p:sp>
      <p:sp>
        <p:nvSpPr>
          <p:cNvPr id="10" name="Text Placeholder 9">
            <a:extLst>
              <a:ext uri="{FF2B5EF4-FFF2-40B4-BE49-F238E27FC236}">
                <a16:creationId xmlns:a16="http://schemas.microsoft.com/office/drawing/2014/main" id="{59378B78-E274-0FA6-0843-CF1FE7DA8082}"/>
              </a:ext>
            </a:extLst>
          </p:cNvPr>
          <p:cNvSpPr>
            <a:spLocks noGrp="1"/>
          </p:cNvSpPr>
          <p:nvPr>
            <p:ph type="body" sz="quarter" idx="46"/>
          </p:nvPr>
        </p:nvSpPr>
        <p:spPr>
          <a:xfrm>
            <a:off x="4525225" y="4974395"/>
            <a:ext cx="6955800" cy="985006"/>
          </a:xfrm>
        </p:spPr>
        <p:txBody>
          <a:bodyPr lIns="91440" tIns="45720" rIns="91440" bIns="45720" anchor="t">
            <a:noAutofit/>
          </a:bodyPr>
          <a:lstStyle/>
          <a:p>
            <a:r>
              <a:rPr lang="en-US" sz="2000">
                <a:solidFill>
                  <a:srgbClr val="003841"/>
                </a:solidFill>
                <a:latin typeface="Calibri"/>
                <a:ea typeface="Calibri"/>
                <a:cs typeface="Calibri"/>
              </a:rPr>
              <a:t>Kulturelle Sensibilität ist unerlässlich. Kulturelle Unterschiede zu verstehen und zu kennen, ist eine entscheidende Fähigkeit, um im Geschäftsleben und im Vertrieb erfolgreich zu sein. </a:t>
            </a:r>
            <a:endParaRPr lang="en-US" sz="2000">
              <a:latin typeface="Calibri"/>
              <a:ea typeface="Calibri"/>
              <a:cs typeface="Calibri"/>
            </a:endParaRPr>
          </a:p>
        </p:txBody>
      </p:sp>
      <p:sp>
        <p:nvSpPr>
          <p:cNvPr id="11" name="Text Placeholder 10">
            <a:extLst>
              <a:ext uri="{FF2B5EF4-FFF2-40B4-BE49-F238E27FC236}">
                <a16:creationId xmlns:a16="http://schemas.microsoft.com/office/drawing/2014/main" id="{FD65B05F-90C3-A355-8630-911B18510BF4}"/>
              </a:ext>
            </a:extLst>
          </p:cNvPr>
          <p:cNvSpPr>
            <a:spLocks noGrp="1"/>
          </p:cNvSpPr>
          <p:nvPr>
            <p:ph type="body" sz="quarter" idx="47"/>
          </p:nvPr>
        </p:nvSpPr>
        <p:spPr/>
        <p:txBody>
          <a:bodyPr/>
          <a:lstStyle/>
          <a:p>
            <a:endParaRPr lang="en-US"/>
          </a:p>
        </p:txBody>
      </p:sp>
      <p:pic>
        <p:nvPicPr>
          <p:cNvPr id="5" name="Picture Placeholder 11" descr="A person holding a notebook and talking on the phone&#10;&#10;Description automatically generated">
            <a:extLst>
              <a:ext uri="{FF2B5EF4-FFF2-40B4-BE49-F238E27FC236}">
                <a16:creationId xmlns:a16="http://schemas.microsoft.com/office/drawing/2014/main" id="{9AC877E8-207A-13FF-1776-ABAC8376114E}"/>
              </a:ext>
            </a:extLst>
          </p:cNvPr>
          <p:cNvPicPr>
            <a:picLocks noGrp="1" noChangeAspect="1"/>
          </p:cNvPicPr>
          <p:nvPr>
            <p:ph type="pic" sz="quarter" idx="41"/>
          </p:nvPr>
        </p:nvPicPr>
        <p:blipFill>
          <a:blip r:embed="rId2"/>
          <a:srcRect l="31122" r="31122"/>
          <a:stretch/>
        </p:blipFill>
        <p:spPr>
          <a:xfrm>
            <a:off x="7938" y="188913"/>
            <a:ext cx="3354387" cy="5922962"/>
          </a:xfrm>
        </p:spPr>
      </p:pic>
    </p:spTree>
    <p:extLst>
      <p:ext uri="{BB962C8B-B14F-4D97-AF65-F5344CB8AC3E}">
        <p14:creationId xmlns:p14="http://schemas.microsoft.com/office/powerpoint/2010/main" val="20660582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455A9E-8382-C594-9ABE-05205B874C03}"/>
              </a:ext>
            </a:extLst>
          </p:cNvPr>
          <p:cNvSpPr>
            <a:spLocks noGrp="1"/>
          </p:cNvSpPr>
          <p:nvPr>
            <p:ph type="body" sz="quarter" idx="35"/>
          </p:nvPr>
        </p:nvSpPr>
        <p:spPr>
          <a:xfrm>
            <a:off x="4912292" y="770324"/>
            <a:ext cx="6562677" cy="339415"/>
          </a:xfrm>
        </p:spPr>
        <p:txBody>
          <a:bodyPr lIns="91440" tIns="45720" rIns="91440" bIns="45720" anchor="t">
            <a:noAutofit/>
          </a:bodyPr>
          <a:lstStyle/>
          <a:p>
            <a:r>
              <a:rPr lang="en-US" dirty="0">
                <a:latin typeface="Calibri"/>
                <a:ea typeface="Calibri"/>
                <a:cs typeface="Calibri"/>
              </a:rPr>
              <a:t>Auftragsannahme</a:t>
            </a:r>
            <a:endParaRPr lang="en-US" dirty="0"/>
          </a:p>
        </p:txBody>
      </p:sp>
      <p:sp>
        <p:nvSpPr>
          <p:cNvPr id="3" name="Text Placeholder 2">
            <a:extLst>
              <a:ext uri="{FF2B5EF4-FFF2-40B4-BE49-F238E27FC236}">
                <a16:creationId xmlns:a16="http://schemas.microsoft.com/office/drawing/2014/main" id="{716E7CFE-E5CE-E3A3-0CEC-0C23EA0B26BF}"/>
              </a:ext>
            </a:extLst>
          </p:cNvPr>
          <p:cNvSpPr>
            <a:spLocks noGrp="1"/>
          </p:cNvSpPr>
          <p:nvPr>
            <p:ph type="body" sz="quarter" idx="36"/>
          </p:nvPr>
        </p:nvSpPr>
        <p:spPr>
          <a:xfrm>
            <a:off x="4164540" y="1201843"/>
            <a:ext cx="7315365" cy="1143156"/>
          </a:xfrm>
        </p:spPr>
        <p:txBody>
          <a:bodyPr lIns="91440" tIns="45720" rIns="91440" bIns="45720" anchor="t">
            <a:noAutofit/>
          </a:bodyPr>
          <a:lstStyle/>
          <a:p>
            <a:r>
              <a:rPr lang="en-US" sz="2000" dirty="0">
                <a:solidFill>
                  <a:srgbClr val="000000"/>
                </a:solidFill>
                <a:latin typeface="Calibri"/>
                <a:ea typeface="Calibri"/>
                <a:cs typeface="Calibri"/>
              </a:rPr>
              <a:t>Auftragserfasser im Innendienst, z. B. im Einzelhandel.                                                   Auftragserfasser im Außendienst - Kontakt zum Kunden, um Bestellungen entgegenzunehmen Verkäufer im Außendienst </a:t>
            </a:r>
            <a:endParaRPr lang="en-US" sz="2000" dirty="0">
              <a:latin typeface="Calibri"/>
              <a:ea typeface="Calibri"/>
              <a:cs typeface="Calibri"/>
            </a:endParaRPr>
          </a:p>
          <a:p>
            <a:endParaRPr lang="en-US" sz="2000" dirty="0">
              <a:ea typeface="Calibri"/>
            </a:endParaRPr>
          </a:p>
        </p:txBody>
      </p:sp>
      <p:sp>
        <p:nvSpPr>
          <p:cNvPr id="4" name="Text Placeholder 3">
            <a:extLst>
              <a:ext uri="{FF2B5EF4-FFF2-40B4-BE49-F238E27FC236}">
                <a16:creationId xmlns:a16="http://schemas.microsoft.com/office/drawing/2014/main" id="{E17B7E1A-8F66-272E-2BB8-F7ADFD67ED7D}"/>
              </a:ext>
            </a:extLst>
          </p:cNvPr>
          <p:cNvSpPr>
            <a:spLocks noGrp="1"/>
          </p:cNvSpPr>
          <p:nvPr>
            <p:ph type="body" sz="quarter" idx="37"/>
          </p:nvPr>
        </p:nvSpPr>
        <p:spPr/>
        <p:txBody>
          <a:bodyPr/>
          <a:lstStyle/>
          <a:p>
            <a:endParaRPr lang="en-US"/>
          </a:p>
        </p:txBody>
      </p:sp>
      <p:sp>
        <p:nvSpPr>
          <p:cNvPr id="6" name="Text Placeholder 5">
            <a:extLst>
              <a:ext uri="{FF2B5EF4-FFF2-40B4-BE49-F238E27FC236}">
                <a16:creationId xmlns:a16="http://schemas.microsoft.com/office/drawing/2014/main" id="{6578B963-BF2A-C1E2-4AE3-1DF0EAC81D57}"/>
              </a:ext>
            </a:extLst>
          </p:cNvPr>
          <p:cNvSpPr>
            <a:spLocks noGrp="1"/>
          </p:cNvSpPr>
          <p:nvPr>
            <p:ph type="body" sz="quarter" idx="42"/>
          </p:nvPr>
        </p:nvSpPr>
        <p:spPr/>
        <p:txBody>
          <a:bodyPr lIns="91440" tIns="45720" rIns="91440" bIns="45720" anchor="t">
            <a:noAutofit/>
          </a:bodyPr>
          <a:lstStyle/>
          <a:p>
            <a:r>
              <a:rPr lang="en-US">
                <a:latin typeface="Calibri"/>
                <a:ea typeface="Calibri"/>
                <a:cs typeface="Calibri"/>
              </a:rPr>
              <a:t>Schöpfer der Bestellung</a:t>
            </a:r>
            <a:endParaRPr lang="en-US"/>
          </a:p>
        </p:txBody>
      </p:sp>
      <p:sp>
        <p:nvSpPr>
          <p:cNvPr id="7" name="Text Placeholder 6">
            <a:extLst>
              <a:ext uri="{FF2B5EF4-FFF2-40B4-BE49-F238E27FC236}">
                <a16:creationId xmlns:a16="http://schemas.microsoft.com/office/drawing/2014/main" id="{D7CE1F6F-43B5-2FDC-3C6F-8254DE6B411E}"/>
              </a:ext>
            </a:extLst>
          </p:cNvPr>
          <p:cNvSpPr>
            <a:spLocks noGrp="1"/>
          </p:cNvSpPr>
          <p:nvPr>
            <p:ph type="body" sz="quarter" idx="43"/>
          </p:nvPr>
        </p:nvSpPr>
        <p:spPr>
          <a:xfrm>
            <a:off x="4638514" y="3290243"/>
            <a:ext cx="6851953" cy="1071269"/>
          </a:xfrm>
        </p:spPr>
        <p:txBody>
          <a:bodyPr lIns="91440" tIns="45720" rIns="91440" bIns="45720" anchor="t">
            <a:noAutofit/>
          </a:bodyPr>
          <a:lstStyle/>
          <a:p>
            <a:r>
              <a:rPr lang="en-US" sz="2000" dirty="0">
                <a:solidFill>
                  <a:srgbClr val="000000"/>
                </a:solidFill>
                <a:latin typeface="Calibri"/>
                <a:ea typeface="Calibri"/>
                <a:cs typeface="Calibri"/>
              </a:rPr>
              <a:t>Die Verkaufsaufgabe besteht darin, aufzuklären und Wohlwollen zu schaffen. z.B. Wohlfühlunternehmen</a:t>
            </a:r>
            <a:endParaRPr lang="en-US" sz="2000" dirty="0">
              <a:latin typeface="Calibri"/>
              <a:cs typeface="Calibri"/>
            </a:endParaRPr>
          </a:p>
          <a:p>
            <a:endParaRPr lang="en-US" sz="2000" dirty="0">
              <a:ea typeface="Calibri"/>
            </a:endParaRPr>
          </a:p>
        </p:txBody>
      </p:sp>
      <p:sp>
        <p:nvSpPr>
          <p:cNvPr id="8" name="Text Placeholder 7">
            <a:extLst>
              <a:ext uri="{FF2B5EF4-FFF2-40B4-BE49-F238E27FC236}">
                <a16:creationId xmlns:a16="http://schemas.microsoft.com/office/drawing/2014/main" id="{E2C16750-82A4-F3CE-CCF7-D44130005545}"/>
              </a:ext>
            </a:extLst>
          </p:cNvPr>
          <p:cNvSpPr>
            <a:spLocks noGrp="1"/>
          </p:cNvSpPr>
          <p:nvPr>
            <p:ph type="body" sz="quarter" idx="44"/>
          </p:nvPr>
        </p:nvSpPr>
        <p:spPr/>
        <p:txBody>
          <a:bodyPr/>
          <a:lstStyle/>
          <a:p>
            <a:endParaRPr lang="en-US"/>
          </a:p>
        </p:txBody>
      </p:sp>
      <p:sp>
        <p:nvSpPr>
          <p:cNvPr id="9" name="Text Placeholder 8">
            <a:extLst>
              <a:ext uri="{FF2B5EF4-FFF2-40B4-BE49-F238E27FC236}">
                <a16:creationId xmlns:a16="http://schemas.microsoft.com/office/drawing/2014/main" id="{B8FF6E81-79A7-C113-7EF9-669EB2ED890E}"/>
              </a:ext>
            </a:extLst>
          </p:cNvPr>
          <p:cNvSpPr>
            <a:spLocks noGrp="1"/>
          </p:cNvSpPr>
          <p:nvPr>
            <p:ph type="body" sz="quarter" idx="45"/>
          </p:nvPr>
        </p:nvSpPr>
        <p:spPr/>
        <p:txBody>
          <a:bodyPr lIns="91440" tIns="45720" rIns="91440" bIns="45720" anchor="t">
            <a:noAutofit/>
          </a:bodyPr>
          <a:lstStyle/>
          <a:p>
            <a:r>
              <a:rPr lang="en-US" dirty="0">
                <a:latin typeface="Calibri"/>
                <a:ea typeface="Calibri"/>
                <a:cs typeface="Calibri"/>
              </a:rPr>
              <a:t>Getter bestellen</a:t>
            </a:r>
            <a:endParaRPr lang="en-US" dirty="0"/>
          </a:p>
        </p:txBody>
      </p:sp>
      <p:sp>
        <p:nvSpPr>
          <p:cNvPr id="10" name="Text Placeholder 9">
            <a:extLst>
              <a:ext uri="{FF2B5EF4-FFF2-40B4-BE49-F238E27FC236}">
                <a16:creationId xmlns:a16="http://schemas.microsoft.com/office/drawing/2014/main" id="{237A4DBF-C748-EAE8-ADCF-E2A2C39AEE21}"/>
              </a:ext>
            </a:extLst>
          </p:cNvPr>
          <p:cNvSpPr>
            <a:spLocks noGrp="1"/>
          </p:cNvSpPr>
          <p:nvPr>
            <p:ph type="body" sz="quarter" idx="46"/>
          </p:nvPr>
        </p:nvSpPr>
        <p:spPr>
          <a:xfrm>
            <a:off x="5026251" y="5132546"/>
            <a:ext cx="6440398" cy="985006"/>
          </a:xfrm>
        </p:spPr>
        <p:txBody>
          <a:bodyPr lIns="91440" tIns="45720" rIns="91440" bIns="45720" anchor="t">
            <a:noAutofit/>
          </a:bodyPr>
          <a:lstStyle/>
          <a:p>
            <a:r>
              <a:rPr lang="en-US" sz="2000" dirty="0">
                <a:solidFill>
                  <a:srgbClr val="000000"/>
                </a:solidFill>
                <a:latin typeface="Calibri"/>
                <a:ea typeface="Calibri"/>
                <a:cs typeface="Calibri"/>
              </a:rPr>
              <a:t>Neugeschäft - Generierung von Neugeschäft und Betreuung von Bestandskunden</a:t>
            </a:r>
            <a:endParaRPr lang="en-US" sz="2000" dirty="0">
              <a:latin typeface="Calibri"/>
              <a:cs typeface="Calibri"/>
            </a:endParaRPr>
          </a:p>
          <a:p>
            <a:endParaRPr lang="en-US" sz="2000" dirty="0">
              <a:ea typeface="Calibri"/>
            </a:endParaRPr>
          </a:p>
        </p:txBody>
      </p:sp>
      <p:sp>
        <p:nvSpPr>
          <p:cNvPr id="11" name="Text Placeholder 10">
            <a:extLst>
              <a:ext uri="{FF2B5EF4-FFF2-40B4-BE49-F238E27FC236}">
                <a16:creationId xmlns:a16="http://schemas.microsoft.com/office/drawing/2014/main" id="{40CE3535-94E5-9D84-A821-37E10F1C0582}"/>
              </a:ext>
            </a:extLst>
          </p:cNvPr>
          <p:cNvSpPr>
            <a:spLocks noGrp="1"/>
          </p:cNvSpPr>
          <p:nvPr>
            <p:ph type="body" sz="quarter" idx="47"/>
          </p:nvPr>
        </p:nvSpPr>
        <p:spPr/>
        <p:txBody>
          <a:bodyPr/>
          <a:lstStyle/>
          <a:p>
            <a:endParaRPr lang="en-US"/>
          </a:p>
        </p:txBody>
      </p:sp>
      <p:sp>
        <p:nvSpPr>
          <p:cNvPr id="12" name="TextBox 11">
            <a:extLst>
              <a:ext uri="{FF2B5EF4-FFF2-40B4-BE49-F238E27FC236}">
                <a16:creationId xmlns:a16="http://schemas.microsoft.com/office/drawing/2014/main" id="{38F9E69B-0A24-7B5B-3632-79361D34365C}"/>
              </a:ext>
            </a:extLst>
          </p:cNvPr>
          <p:cNvSpPr txBox="1"/>
          <p:nvPr/>
        </p:nvSpPr>
        <p:spPr>
          <a:xfrm>
            <a:off x="4320643" y="0"/>
            <a:ext cx="731536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dirty="0">
                <a:solidFill>
                  <a:srgbClr val="DE0A1D"/>
                </a:solidFill>
                <a:ea typeface="Calibri"/>
                <a:cs typeface="Calibri"/>
              </a:rPr>
              <a:t>Welcher Verkäufertyp sind Sie?</a:t>
            </a:r>
            <a:endParaRPr lang="en-US" sz="3600" b="1" dirty="0">
              <a:solidFill>
                <a:srgbClr val="DE0A1D"/>
              </a:solidFill>
            </a:endParaRPr>
          </a:p>
        </p:txBody>
      </p:sp>
      <p:pic>
        <p:nvPicPr>
          <p:cNvPr id="5" name="Picture Placeholder 13">
            <a:extLst>
              <a:ext uri="{FF2B5EF4-FFF2-40B4-BE49-F238E27FC236}">
                <a16:creationId xmlns:a16="http://schemas.microsoft.com/office/drawing/2014/main" id="{2C90574A-760E-835F-56A1-55302ACAC9AC}"/>
              </a:ext>
            </a:extLst>
          </p:cNvPr>
          <p:cNvPicPr>
            <a:picLocks noGrp="1" noChangeAspect="1"/>
          </p:cNvPicPr>
          <p:nvPr>
            <p:ph type="pic" sz="quarter" idx="41"/>
          </p:nvPr>
        </p:nvPicPr>
        <p:blipFill>
          <a:blip r:embed="rId2"/>
          <a:srcRect l="7547" r="7547"/>
          <a:stretch>
            <a:fillRect/>
          </a:stretch>
        </p:blipFill>
        <p:spPr>
          <a:xfrm>
            <a:off x="7938" y="188913"/>
            <a:ext cx="3354387" cy="5922962"/>
          </a:xfrm>
        </p:spPr>
      </p:pic>
    </p:spTree>
    <p:extLst>
      <p:ext uri="{BB962C8B-B14F-4D97-AF65-F5344CB8AC3E}">
        <p14:creationId xmlns:p14="http://schemas.microsoft.com/office/powerpoint/2010/main" val="6960546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E755C1-436A-1CCB-22DD-D1EEFAA52183}"/>
              </a:ext>
            </a:extLst>
          </p:cNvPr>
          <p:cNvSpPr>
            <a:spLocks noGrp="1"/>
          </p:cNvSpPr>
          <p:nvPr>
            <p:ph type="body" sz="quarter" idx="13"/>
          </p:nvPr>
        </p:nvSpPr>
        <p:spPr>
          <a:xfrm>
            <a:off x="856356" y="1091775"/>
            <a:ext cx="5055171" cy="3808175"/>
          </a:xfrm>
        </p:spPr>
        <p:txBody>
          <a:bodyPr lIns="91440" tIns="45720" rIns="91440" bIns="45720" anchor="ctr">
            <a:normAutofit/>
          </a:bodyPr>
          <a:lstStyle/>
          <a:p>
            <a:r>
              <a:rPr lang="en-US" dirty="0">
                <a:ea typeface="Calibri"/>
                <a:cs typeface="Calibri"/>
              </a:rPr>
              <a:t>Jeder Interessent oder Kunde nimmt einen bestimmten Platz im </a:t>
            </a:r>
            <a:r>
              <a:rPr lang="en-US" b="1" dirty="0">
                <a:ea typeface="Calibri"/>
                <a:cs typeface="Calibri"/>
              </a:rPr>
              <a:t>Kunden-Kaufzyklus </a:t>
            </a:r>
            <a:r>
              <a:rPr lang="en-US" dirty="0">
                <a:ea typeface="Calibri"/>
                <a:cs typeface="Calibri"/>
              </a:rPr>
              <a:t>ein.</a:t>
            </a:r>
          </a:p>
          <a:p>
            <a:endParaRPr lang="en-US" dirty="0">
              <a:ea typeface="Calibri"/>
              <a:cs typeface="Calibri"/>
            </a:endParaRPr>
          </a:p>
          <a:p>
            <a:r>
              <a:rPr lang="en-US" dirty="0">
                <a:ea typeface="Calibri"/>
                <a:cs typeface="Calibri"/>
              </a:rPr>
              <a:t>Eine einfache Möglichkeit, den </a:t>
            </a:r>
            <a:r>
              <a:rPr lang="en-US" b="1" dirty="0">
                <a:ea typeface="Calibri"/>
                <a:cs typeface="Calibri"/>
              </a:rPr>
              <a:t>Kaufzyklus eines Kunden </a:t>
            </a:r>
            <a:r>
              <a:rPr lang="en-US" dirty="0">
                <a:ea typeface="Calibri"/>
                <a:cs typeface="Calibri"/>
              </a:rPr>
              <a:t>zu betrachten, besteht darin, ihn in </a:t>
            </a:r>
            <a:r>
              <a:rPr lang="en-US" b="1" dirty="0">
                <a:ea typeface="Calibri"/>
                <a:cs typeface="Calibri"/>
              </a:rPr>
              <a:t>drei Phasen </a:t>
            </a:r>
            <a:r>
              <a:rPr lang="en-US" dirty="0">
                <a:ea typeface="Calibri"/>
                <a:cs typeface="Calibri"/>
              </a:rPr>
              <a:t>zu unterteilen</a:t>
            </a:r>
          </a:p>
        </p:txBody>
      </p:sp>
      <p:pic>
        <p:nvPicPr>
          <p:cNvPr id="3" name="Picture Placeholder 4">
            <a:extLst>
              <a:ext uri="{FF2B5EF4-FFF2-40B4-BE49-F238E27FC236}">
                <a16:creationId xmlns:a16="http://schemas.microsoft.com/office/drawing/2014/main" id="{BAE57CD8-8627-3001-AA6B-065F3181D1D2}"/>
              </a:ext>
            </a:extLst>
          </p:cNvPr>
          <p:cNvPicPr>
            <a:picLocks noGrp="1" noChangeAspect="1"/>
          </p:cNvPicPr>
          <p:nvPr>
            <p:ph type="pic" sz="quarter" idx="42"/>
          </p:nvPr>
        </p:nvPicPr>
        <p:blipFill>
          <a:blip r:embed="rId2"/>
          <a:srcRect l="8222" r="8222"/>
          <a:stretch>
            <a:fillRect/>
          </a:stretch>
        </p:blipFill>
        <p:spPr>
          <a:xfrm>
            <a:off x="6096000" y="1404938"/>
            <a:ext cx="5240338" cy="4703762"/>
          </a:xfrm>
        </p:spPr>
      </p:pic>
    </p:spTree>
    <p:extLst>
      <p:ext uri="{BB962C8B-B14F-4D97-AF65-F5344CB8AC3E}">
        <p14:creationId xmlns:p14="http://schemas.microsoft.com/office/powerpoint/2010/main" val="33235879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01A243-8D35-A18A-79C3-0F79900A2F23}"/>
              </a:ext>
            </a:extLst>
          </p:cNvPr>
          <p:cNvSpPr>
            <a:spLocks noGrp="1"/>
          </p:cNvSpPr>
          <p:nvPr>
            <p:ph type="body" sz="quarter" idx="35"/>
          </p:nvPr>
        </p:nvSpPr>
        <p:spPr/>
        <p:txBody>
          <a:bodyPr lIns="91440" tIns="45720" rIns="91440" bIns="45720" anchor="t">
            <a:noAutofit/>
          </a:bodyPr>
          <a:lstStyle/>
          <a:p>
            <a:r>
              <a:rPr lang="en-US">
                <a:solidFill>
                  <a:srgbClr val="DE0A1D"/>
                </a:solidFill>
                <a:latin typeface="Calibri"/>
                <a:ea typeface="Calibri"/>
                <a:cs typeface="Calibri"/>
              </a:rPr>
              <a:t>Bewusstseinsbildung</a:t>
            </a:r>
            <a:endParaRPr lang="en-US">
              <a:solidFill>
                <a:srgbClr val="DE0A1D"/>
              </a:solidFill>
              <a:ea typeface="Calibri"/>
            </a:endParaRPr>
          </a:p>
        </p:txBody>
      </p:sp>
      <p:sp>
        <p:nvSpPr>
          <p:cNvPr id="3" name="Text Placeholder 2">
            <a:extLst>
              <a:ext uri="{FF2B5EF4-FFF2-40B4-BE49-F238E27FC236}">
                <a16:creationId xmlns:a16="http://schemas.microsoft.com/office/drawing/2014/main" id="{72A00614-4D82-BBCE-57BA-022165E689DB}"/>
              </a:ext>
            </a:extLst>
          </p:cNvPr>
          <p:cNvSpPr>
            <a:spLocks noGrp="1"/>
          </p:cNvSpPr>
          <p:nvPr>
            <p:ph type="body" sz="quarter" idx="36"/>
          </p:nvPr>
        </p:nvSpPr>
        <p:spPr>
          <a:xfrm>
            <a:off x="4538483" y="1216220"/>
            <a:ext cx="6955799" cy="999383"/>
          </a:xfrm>
        </p:spPr>
        <p:txBody>
          <a:bodyPr lIns="91440" tIns="45720" rIns="91440" bIns="45720" anchor="t">
            <a:noAutofit/>
          </a:bodyPr>
          <a:lstStyle/>
          <a:p>
            <a:r>
              <a:rPr lang="en-US" sz="2000" dirty="0">
                <a:solidFill>
                  <a:srgbClr val="003841"/>
                </a:solidFill>
                <a:ea typeface="Calibri"/>
              </a:rPr>
              <a:t>Wenn </a:t>
            </a:r>
            <a:r>
              <a:rPr lang="en-US" sz="2000" dirty="0" err="1">
                <a:solidFill>
                  <a:srgbClr val="003841"/>
                </a:solidFill>
                <a:ea typeface="Calibri"/>
              </a:rPr>
              <a:t>ein</a:t>
            </a:r>
            <a:r>
              <a:rPr lang="en-US" sz="2000" dirty="0">
                <a:solidFill>
                  <a:srgbClr val="003841"/>
                </a:solidFill>
                <a:ea typeface="Calibri"/>
              </a:rPr>
              <a:t> Kunde das </a:t>
            </a:r>
            <a:r>
              <a:rPr lang="en-US" sz="2000" dirty="0" err="1">
                <a:solidFill>
                  <a:srgbClr val="003841"/>
                </a:solidFill>
                <a:ea typeface="Calibri"/>
              </a:rPr>
              <a:t>erste</a:t>
            </a:r>
            <a:r>
              <a:rPr lang="en-US" sz="2000" dirty="0">
                <a:solidFill>
                  <a:srgbClr val="003841"/>
                </a:solidFill>
                <a:ea typeface="Calibri"/>
              </a:rPr>
              <a:t> Mal auf </a:t>
            </a:r>
            <a:r>
              <a:rPr lang="en-US" sz="2000" dirty="0" err="1">
                <a:solidFill>
                  <a:srgbClr val="003841"/>
                </a:solidFill>
                <a:ea typeface="Calibri"/>
              </a:rPr>
              <a:t>Ihr</a:t>
            </a:r>
            <a:r>
              <a:rPr lang="en-US" sz="2000" dirty="0">
                <a:solidFill>
                  <a:srgbClr val="003841"/>
                </a:solidFill>
                <a:ea typeface="Calibri"/>
              </a:rPr>
              <a:t> </a:t>
            </a:r>
            <a:r>
              <a:rPr lang="en-US" sz="2000" dirty="0" err="1">
                <a:solidFill>
                  <a:srgbClr val="003841"/>
                </a:solidFill>
                <a:ea typeface="Calibri"/>
              </a:rPr>
              <a:t>Produkt</a:t>
            </a:r>
            <a:r>
              <a:rPr lang="en-US" sz="2000" dirty="0">
                <a:solidFill>
                  <a:srgbClr val="003841"/>
                </a:solidFill>
                <a:ea typeface="Calibri"/>
              </a:rPr>
              <a:t> </a:t>
            </a:r>
            <a:r>
              <a:rPr lang="en-US" sz="2000" dirty="0" err="1">
                <a:solidFill>
                  <a:srgbClr val="003841"/>
                </a:solidFill>
                <a:ea typeface="Calibri"/>
              </a:rPr>
              <a:t>aufmerksam</a:t>
            </a:r>
            <a:r>
              <a:rPr lang="en-US" sz="2000" dirty="0">
                <a:solidFill>
                  <a:srgbClr val="003841"/>
                </a:solidFill>
                <a:ea typeface="Calibri"/>
              </a:rPr>
              <a:t> </a:t>
            </a:r>
            <a:r>
              <a:rPr lang="en-US" sz="2000" dirty="0" err="1">
                <a:solidFill>
                  <a:srgbClr val="003841"/>
                </a:solidFill>
                <a:ea typeface="Calibri"/>
              </a:rPr>
              <a:t>wird</a:t>
            </a:r>
            <a:r>
              <a:rPr lang="en-US" sz="2000" dirty="0">
                <a:solidFill>
                  <a:srgbClr val="003841"/>
                </a:solidFill>
                <a:ea typeface="Calibri"/>
              </a:rPr>
              <a:t>. Oder wo </a:t>
            </a:r>
            <a:r>
              <a:rPr lang="en-US" sz="2000" dirty="0" err="1">
                <a:solidFill>
                  <a:srgbClr val="003841"/>
                </a:solidFill>
                <a:ea typeface="Calibri"/>
              </a:rPr>
              <a:t>ein</a:t>
            </a:r>
            <a:r>
              <a:rPr lang="en-US" sz="2000" dirty="0">
                <a:solidFill>
                  <a:srgbClr val="003841"/>
                </a:solidFill>
                <a:ea typeface="Calibri"/>
              </a:rPr>
              <a:t> Kunde </a:t>
            </a:r>
            <a:r>
              <a:rPr lang="en-US" sz="2000" dirty="0" err="1">
                <a:solidFill>
                  <a:srgbClr val="003841"/>
                </a:solidFill>
                <a:ea typeface="Calibri"/>
              </a:rPr>
              <a:t>zum</a:t>
            </a:r>
            <a:r>
              <a:rPr lang="en-US" sz="2000" dirty="0">
                <a:solidFill>
                  <a:srgbClr val="003841"/>
                </a:solidFill>
                <a:ea typeface="Calibri"/>
              </a:rPr>
              <a:t> </a:t>
            </a:r>
            <a:r>
              <a:rPr lang="en-US" sz="2000" dirty="0" err="1">
                <a:solidFill>
                  <a:srgbClr val="003841"/>
                </a:solidFill>
                <a:ea typeface="Calibri"/>
              </a:rPr>
              <a:t>ersten</a:t>
            </a:r>
            <a:r>
              <a:rPr lang="en-US" sz="2000" dirty="0">
                <a:solidFill>
                  <a:srgbClr val="003841"/>
                </a:solidFill>
                <a:ea typeface="Calibri"/>
              </a:rPr>
              <a:t> Mal </a:t>
            </a:r>
            <a:r>
              <a:rPr lang="en-US" sz="2000" dirty="0" err="1">
                <a:solidFill>
                  <a:srgbClr val="003841"/>
                </a:solidFill>
                <a:ea typeface="Calibri"/>
              </a:rPr>
              <a:t>ein</a:t>
            </a:r>
            <a:r>
              <a:rPr lang="en-US" sz="2000" dirty="0">
                <a:solidFill>
                  <a:srgbClr val="003841"/>
                </a:solidFill>
                <a:ea typeface="Calibri"/>
              </a:rPr>
              <a:t> </a:t>
            </a:r>
            <a:r>
              <a:rPr lang="en-US" sz="2000" dirty="0" err="1">
                <a:solidFill>
                  <a:srgbClr val="003841"/>
                </a:solidFill>
                <a:ea typeface="Calibri"/>
              </a:rPr>
              <a:t>Bedürfnis</a:t>
            </a:r>
            <a:r>
              <a:rPr lang="en-US" sz="2000" dirty="0">
                <a:solidFill>
                  <a:srgbClr val="003841"/>
                </a:solidFill>
                <a:ea typeface="Calibri"/>
              </a:rPr>
              <a:t> </a:t>
            </a:r>
            <a:r>
              <a:rPr lang="en-US" sz="2000" dirty="0" err="1">
                <a:solidFill>
                  <a:srgbClr val="003841"/>
                </a:solidFill>
                <a:ea typeface="Calibri"/>
              </a:rPr>
              <a:t>erkennt</a:t>
            </a:r>
            <a:r>
              <a:rPr lang="en-US" sz="2000" dirty="0">
                <a:solidFill>
                  <a:srgbClr val="003841"/>
                </a:solidFill>
                <a:ea typeface="Calibri"/>
              </a:rPr>
              <a:t>, das er </a:t>
            </a:r>
            <a:r>
              <a:rPr lang="en-US" sz="2000" dirty="0" err="1">
                <a:solidFill>
                  <a:srgbClr val="003841"/>
                </a:solidFill>
                <a:ea typeface="Calibri"/>
              </a:rPr>
              <a:t>erfüllen</a:t>
            </a:r>
            <a:r>
              <a:rPr lang="en-US" sz="2000" dirty="0">
                <a:solidFill>
                  <a:srgbClr val="003841"/>
                </a:solidFill>
                <a:ea typeface="Calibri"/>
              </a:rPr>
              <a:t> </a:t>
            </a:r>
            <a:r>
              <a:rPr lang="en-US" sz="2000" dirty="0" err="1">
                <a:solidFill>
                  <a:srgbClr val="003841"/>
                </a:solidFill>
                <a:ea typeface="Calibri"/>
              </a:rPr>
              <a:t>möchte</a:t>
            </a:r>
            <a:endParaRPr lang="en-US" sz="2000" dirty="0">
              <a:ea typeface="Calibri" panose="020F0502020204030204" pitchFamily="34" charset="0"/>
            </a:endParaRPr>
          </a:p>
          <a:p>
            <a:endParaRPr lang="en-US" sz="2000" dirty="0">
              <a:ea typeface="Calibri"/>
            </a:endParaRPr>
          </a:p>
        </p:txBody>
      </p:sp>
      <p:sp>
        <p:nvSpPr>
          <p:cNvPr id="4" name="Text Placeholder 3">
            <a:extLst>
              <a:ext uri="{FF2B5EF4-FFF2-40B4-BE49-F238E27FC236}">
                <a16:creationId xmlns:a16="http://schemas.microsoft.com/office/drawing/2014/main" id="{7550355A-3087-59C6-7248-2261C56D6332}"/>
              </a:ext>
            </a:extLst>
          </p:cNvPr>
          <p:cNvSpPr>
            <a:spLocks noGrp="1"/>
          </p:cNvSpPr>
          <p:nvPr>
            <p:ph type="body" sz="quarter" idx="37"/>
          </p:nvPr>
        </p:nvSpPr>
        <p:spPr/>
        <p:txBody>
          <a:bodyPr/>
          <a:lstStyle/>
          <a:p>
            <a:endParaRPr lang="en-US"/>
          </a:p>
        </p:txBody>
      </p:sp>
      <p:sp>
        <p:nvSpPr>
          <p:cNvPr id="6" name="Text Placeholder 5">
            <a:extLst>
              <a:ext uri="{FF2B5EF4-FFF2-40B4-BE49-F238E27FC236}">
                <a16:creationId xmlns:a16="http://schemas.microsoft.com/office/drawing/2014/main" id="{BB257891-13A2-D3D5-25E1-00CE1F3B7EE0}"/>
              </a:ext>
            </a:extLst>
          </p:cNvPr>
          <p:cNvSpPr>
            <a:spLocks noGrp="1"/>
          </p:cNvSpPr>
          <p:nvPr>
            <p:ph type="body" sz="quarter" idx="42"/>
          </p:nvPr>
        </p:nvSpPr>
        <p:spPr/>
        <p:txBody>
          <a:bodyPr lIns="91440" tIns="45720" rIns="91440" bIns="45720" anchor="t">
            <a:noAutofit/>
          </a:bodyPr>
          <a:lstStyle/>
          <a:p>
            <a:r>
              <a:rPr lang="en-US">
                <a:solidFill>
                  <a:srgbClr val="DE0A1D"/>
                </a:solidFill>
                <a:latin typeface="Calibri"/>
                <a:ea typeface="Calibri"/>
                <a:cs typeface="Calibri"/>
              </a:rPr>
              <a:t>Betrachtung</a:t>
            </a:r>
            <a:endParaRPr lang="en-US">
              <a:solidFill>
                <a:srgbClr val="DE0A1D"/>
              </a:solidFill>
              <a:ea typeface="Calibri"/>
            </a:endParaRPr>
          </a:p>
        </p:txBody>
      </p:sp>
      <p:sp>
        <p:nvSpPr>
          <p:cNvPr id="7" name="Text Placeholder 6">
            <a:extLst>
              <a:ext uri="{FF2B5EF4-FFF2-40B4-BE49-F238E27FC236}">
                <a16:creationId xmlns:a16="http://schemas.microsoft.com/office/drawing/2014/main" id="{55267720-41E2-B2CA-8C8C-084BB4D74843}"/>
              </a:ext>
            </a:extLst>
          </p:cNvPr>
          <p:cNvSpPr>
            <a:spLocks noGrp="1"/>
          </p:cNvSpPr>
          <p:nvPr>
            <p:ph type="body" sz="quarter" idx="43"/>
          </p:nvPr>
        </p:nvSpPr>
        <p:spPr/>
        <p:txBody>
          <a:bodyPr lIns="91440" tIns="45720" rIns="91440" bIns="45720" anchor="t">
            <a:noAutofit/>
          </a:bodyPr>
          <a:lstStyle/>
          <a:p>
            <a:r>
              <a:rPr lang="en-US" sz="2000" dirty="0">
                <a:solidFill>
                  <a:srgbClr val="003841"/>
                </a:solidFill>
                <a:latin typeface="Calibri"/>
                <a:ea typeface="Calibri"/>
                <a:cs typeface="Calibri"/>
              </a:rPr>
              <a:t>Wenn ein Kunde beginnt, Lösungen für seine Bedürfnisse zu evaluieren</a:t>
            </a:r>
            <a:endParaRPr lang="en-US" sz="2000" dirty="0">
              <a:latin typeface="Calibri"/>
              <a:cs typeface="Calibri"/>
            </a:endParaRPr>
          </a:p>
          <a:p>
            <a:endParaRPr lang="en-US" sz="2000" dirty="0">
              <a:ea typeface="Calibri"/>
            </a:endParaRPr>
          </a:p>
        </p:txBody>
      </p:sp>
      <p:sp>
        <p:nvSpPr>
          <p:cNvPr id="8" name="Text Placeholder 7">
            <a:extLst>
              <a:ext uri="{FF2B5EF4-FFF2-40B4-BE49-F238E27FC236}">
                <a16:creationId xmlns:a16="http://schemas.microsoft.com/office/drawing/2014/main" id="{BF9B81E3-5223-E6BA-5878-D4C8D3BCB604}"/>
              </a:ext>
            </a:extLst>
          </p:cNvPr>
          <p:cNvSpPr>
            <a:spLocks noGrp="1"/>
          </p:cNvSpPr>
          <p:nvPr>
            <p:ph type="body" sz="quarter" idx="44"/>
          </p:nvPr>
        </p:nvSpPr>
        <p:spPr/>
        <p:txBody>
          <a:bodyPr/>
          <a:lstStyle/>
          <a:p>
            <a:endParaRPr lang="en-US"/>
          </a:p>
        </p:txBody>
      </p:sp>
      <p:sp>
        <p:nvSpPr>
          <p:cNvPr id="9" name="Text Placeholder 8">
            <a:extLst>
              <a:ext uri="{FF2B5EF4-FFF2-40B4-BE49-F238E27FC236}">
                <a16:creationId xmlns:a16="http://schemas.microsoft.com/office/drawing/2014/main" id="{90CF109F-144D-BC8B-3D8C-3B69B5AE352A}"/>
              </a:ext>
            </a:extLst>
          </p:cNvPr>
          <p:cNvSpPr>
            <a:spLocks noGrp="1"/>
          </p:cNvSpPr>
          <p:nvPr>
            <p:ph type="body" sz="quarter" idx="45"/>
          </p:nvPr>
        </p:nvSpPr>
        <p:spPr/>
        <p:txBody>
          <a:bodyPr lIns="91440" tIns="45720" rIns="91440" bIns="45720" anchor="t">
            <a:noAutofit/>
          </a:bodyPr>
          <a:lstStyle/>
          <a:p>
            <a:r>
              <a:rPr lang="en-US">
                <a:solidFill>
                  <a:srgbClr val="DE0A1D"/>
                </a:solidFill>
                <a:latin typeface="Calibri"/>
                <a:ea typeface="Calibri"/>
                <a:cs typeface="Calibri"/>
              </a:rPr>
              <a:t>Kaufen Sie</a:t>
            </a:r>
            <a:endParaRPr lang="en-US">
              <a:solidFill>
                <a:srgbClr val="DE0A1D"/>
              </a:solidFill>
            </a:endParaRPr>
          </a:p>
        </p:txBody>
      </p:sp>
      <p:sp>
        <p:nvSpPr>
          <p:cNvPr id="10" name="Text Placeholder 9">
            <a:extLst>
              <a:ext uri="{FF2B5EF4-FFF2-40B4-BE49-F238E27FC236}">
                <a16:creationId xmlns:a16="http://schemas.microsoft.com/office/drawing/2014/main" id="{38CB4658-C2C2-41B6-0AFE-E8025C86DA24}"/>
              </a:ext>
            </a:extLst>
          </p:cNvPr>
          <p:cNvSpPr>
            <a:spLocks noGrp="1"/>
          </p:cNvSpPr>
          <p:nvPr>
            <p:ph type="body" sz="quarter" idx="46"/>
          </p:nvPr>
        </p:nvSpPr>
        <p:spPr/>
        <p:txBody>
          <a:bodyPr lIns="91440" tIns="45720" rIns="91440" bIns="45720" anchor="t">
            <a:noAutofit/>
          </a:bodyPr>
          <a:lstStyle/>
          <a:p>
            <a:r>
              <a:rPr lang="en-US" sz="2000" dirty="0">
                <a:solidFill>
                  <a:srgbClr val="003841"/>
                </a:solidFill>
                <a:ea typeface="Calibri"/>
              </a:rPr>
              <a:t>Wenn ein Kunde die Entscheidung trifft und den Kauf abschließt</a:t>
            </a:r>
            <a:endParaRPr lang="en-US" sz="2000" dirty="0"/>
          </a:p>
          <a:p>
            <a:endParaRPr lang="en-US" sz="2000" dirty="0">
              <a:ea typeface="Calibri"/>
            </a:endParaRPr>
          </a:p>
        </p:txBody>
      </p:sp>
      <p:sp>
        <p:nvSpPr>
          <p:cNvPr id="11" name="Text Placeholder 10">
            <a:extLst>
              <a:ext uri="{FF2B5EF4-FFF2-40B4-BE49-F238E27FC236}">
                <a16:creationId xmlns:a16="http://schemas.microsoft.com/office/drawing/2014/main" id="{23535843-3938-BE17-9B02-0BCC2A691A36}"/>
              </a:ext>
            </a:extLst>
          </p:cNvPr>
          <p:cNvSpPr>
            <a:spLocks noGrp="1"/>
          </p:cNvSpPr>
          <p:nvPr>
            <p:ph type="body" sz="quarter" idx="47"/>
          </p:nvPr>
        </p:nvSpPr>
        <p:spPr/>
        <p:txBody>
          <a:bodyPr/>
          <a:lstStyle/>
          <a:p>
            <a:endParaRPr lang="en-US"/>
          </a:p>
        </p:txBody>
      </p:sp>
      <p:pic>
        <p:nvPicPr>
          <p:cNvPr id="5" name="Picture Placeholder 12">
            <a:extLst>
              <a:ext uri="{FF2B5EF4-FFF2-40B4-BE49-F238E27FC236}">
                <a16:creationId xmlns:a16="http://schemas.microsoft.com/office/drawing/2014/main" id="{80C5DEB6-73DA-0D49-8F21-91DD18A942F8}"/>
              </a:ext>
            </a:extLst>
          </p:cNvPr>
          <p:cNvPicPr>
            <a:picLocks noGrp="1" noChangeAspect="1"/>
          </p:cNvPicPr>
          <p:nvPr>
            <p:ph type="pic" sz="quarter" idx="41"/>
          </p:nvPr>
        </p:nvPicPr>
        <p:blipFill>
          <a:blip r:embed="rId2"/>
          <a:srcRect l="7525" r="7525"/>
          <a:stretch>
            <a:fillRect/>
          </a:stretch>
        </p:blipFill>
        <p:spPr>
          <a:xfrm>
            <a:off x="7938" y="188913"/>
            <a:ext cx="3354387" cy="5922962"/>
          </a:xfrm>
        </p:spPr>
      </p:pic>
    </p:spTree>
    <p:extLst>
      <p:ext uri="{BB962C8B-B14F-4D97-AF65-F5344CB8AC3E}">
        <p14:creationId xmlns:p14="http://schemas.microsoft.com/office/powerpoint/2010/main" val="10204559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4A6DB12-43F2-F102-5375-4BBDD109090E}"/>
              </a:ext>
            </a:extLst>
          </p:cNvPr>
          <p:cNvSpPr>
            <a:spLocks noGrp="1"/>
          </p:cNvSpPr>
          <p:nvPr>
            <p:ph type="body" sz="quarter" idx="16"/>
          </p:nvPr>
        </p:nvSpPr>
        <p:spPr>
          <a:xfrm>
            <a:off x="804006" y="237964"/>
            <a:ext cx="10614687" cy="803654"/>
          </a:xfrm>
        </p:spPr>
        <p:txBody>
          <a:bodyPr lIns="91440" tIns="45720" rIns="91440" bIns="45720" anchor="t">
            <a:noAutofit/>
          </a:bodyPr>
          <a:lstStyle/>
          <a:p>
            <a:r>
              <a:rPr lang="en-US" b="1" dirty="0">
                <a:solidFill>
                  <a:srgbClr val="DE0A1D"/>
                </a:solidFill>
                <a:ea typeface="Calibri"/>
                <a:cs typeface="Calibri"/>
              </a:rPr>
              <a:t>Ihre Verkaufsaktionen innerhalb des Kundenkaufzyklus</a:t>
            </a:r>
            <a:endParaRPr lang="en-US" b="1" dirty="0">
              <a:solidFill>
                <a:srgbClr val="DE0A1D"/>
              </a:solidFill>
            </a:endParaRPr>
          </a:p>
        </p:txBody>
      </p:sp>
      <p:sp>
        <p:nvSpPr>
          <p:cNvPr id="4" name="Rectangle 3">
            <a:extLst>
              <a:ext uri="{FF2B5EF4-FFF2-40B4-BE49-F238E27FC236}">
                <a16:creationId xmlns:a16="http://schemas.microsoft.com/office/drawing/2014/main" id="{ABE6CEC0-70B8-CF33-0BED-9F50D1C694AD}"/>
              </a:ext>
            </a:extLst>
          </p:cNvPr>
          <p:cNvSpPr/>
          <p:nvPr/>
        </p:nvSpPr>
        <p:spPr>
          <a:xfrm>
            <a:off x="11037" y="873226"/>
            <a:ext cx="12157493" cy="1115682"/>
          </a:xfrm>
          <a:prstGeom prst="rect">
            <a:avLst/>
          </a:prstGeom>
          <a:solidFill>
            <a:srgbClr val="DE0A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2134A8D-067F-C85A-875C-185103DFC8AC}"/>
              </a:ext>
            </a:extLst>
          </p:cNvPr>
          <p:cNvSpPr/>
          <p:nvPr/>
        </p:nvSpPr>
        <p:spPr>
          <a:xfrm>
            <a:off x="0" y="2270073"/>
            <a:ext cx="12157493" cy="1475116"/>
          </a:xfrm>
          <a:prstGeom prst="rect">
            <a:avLst/>
          </a:prstGeom>
          <a:solidFill>
            <a:srgbClr val="FDBD2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6EC6C6F-5D55-CCFB-6D37-BCCB9C36C59B}"/>
              </a:ext>
            </a:extLst>
          </p:cNvPr>
          <p:cNvSpPr/>
          <p:nvPr/>
        </p:nvSpPr>
        <p:spPr>
          <a:xfrm>
            <a:off x="0" y="4106401"/>
            <a:ext cx="12143116" cy="1058174"/>
          </a:xfrm>
          <a:prstGeom prst="rect">
            <a:avLst/>
          </a:prstGeom>
          <a:solidFill>
            <a:srgbClr val="47B5C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ack background with white text&#10;&#10;Description automatically generated">
            <a:extLst>
              <a:ext uri="{FF2B5EF4-FFF2-40B4-BE49-F238E27FC236}">
                <a16:creationId xmlns:a16="http://schemas.microsoft.com/office/drawing/2014/main" id="{4120A67A-8195-E8B0-0F70-8BF78CF03367}"/>
              </a:ext>
            </a:extLst>
          </p:cNvPr>
          <p:cNvPicPr>
            <a:picLocks noChangeAspect="1"/>
          </p:cNvPicPr>
          <p:nvPr/>
        </p:nvPicPr>
        <p:blipFill>
          <a:blip r:embed="rId2"/>
          <a:stretch>
            <a:fillRect/>
          </a:stretch>
        </p:blipFill>
        <p:spPr>
          <a:xfrm>
            <a:off x="-65113" y="489980"/>
            <a:ext cx="5514975" cy="2028825"/>
          </a:xfrm>
          <a:prstGeom prst="rect">
            <a:avLst/>
          </a:prstGeom>
        </p:spPr>
      </p:pic>
      <p:pic>
        <p:nvPicPr>
          <p:cNvPr id="8" name="Picture 7" descr="A black background with white text&#10;&#10;Description automatically generated">
            <a:extLst>
              <a:ext uri="{FF2B5EF4-FFF2-40B4-BE49-F238E27FC236}">
                <a16:creationId xmlns:a16="http://schemas.microsoft.com/office/drawing/2014/main" id="{CABE7BDA-D1A2-B407-D100-FA1EFF6A6E8B}"/>
              </a:ext>
            </a:extLst>
          </p:cNvPr>
          <p:cNvPicPr>
            <a:picLocks noChangeAspect="1"/>
          </p:cNvPicPr>
          <p:nvPr/>
        </p:nvPicPr>
        <p:blipFill>
          <a:blip r:embed="rId3"/>
          <a:stretch>
            <a:fillRect/>
          </a:stretch>
        </p:blipFill>
        <p:spPr>
          <a:xfrm>
            <a:off x="-303127" y="2087101"/>
            <a:ext cx="5505450" cy="2019300"/>
          </a:xfrm>
          <a:prstGeom prst="rect">
            <a:avLst/>
          </a:prstGeom>
        </p:spPr>
      </p:pic>
      <p:pic>
        <p:nvPicPr>
          <p:cNvPr id="9" name="Picture 8" descr="A black background with white text&#10;&#10;Description automatically generated">
            <a:extLst>
              <a:ext uri="{FF2B5EF4-FFF2-40B4-BE49-F238E27FC236}">
                <a16:creationId xmlns:a16="http://schemas.microsoft.com/office/drawing/2014/main" id="{5D23EFD2-8B79-B2B8-4F2B-0AB621E7A350}"/>
              </a:ext>
            </a:extLst>
          </p:cNvPr>
          <p:cNvPicPr>
            <a:picLocks noChangeAspect="1"/>
          </p:cNvPicPr>
          <p:nvPr/>
        </p:nvPicPr>
        <p:blipFill>
          <a:blip r:embed="rId4"/>
          <a:stretch>
            <a:fillRect/>
          </a:stretch>
        </p:blipFill>
        <p:spPr>
          <a:xfrm>
            <a:off x="-94146" y="3577573"/>
            <a:ext cx="5505450" cy="2019300"/>
          </a:xfrm>
          <a:prstGeom prst="rect">
            <a:avLst/>
          </a:prstGeom>
        </p:spPr>
      </p:pic>
      <p:pic>
        <p:nvPicPr>
          <p:cNvPr id="10" name="Picture 9" descr="A black background with white text&#10;&#10;Description automatically generated">
            <a:extLst>
              <a:ext uri="{FF2B5EF4-FFF2-40B4-BE49-F238E27FC236}">
                <a16:creationId xmlns:a16="http://schemas.microsoft.com/office/drawing/2014/main" id="{50C227E8-777A-CD4A-A817-81F6B51802E0}"/>
              </a:ext>
            </a:extLst>
          </p:cNvPr>
          <p:cNvPicPr>
            <a:picLocks noChangeAspect="1"/>
          </p:cNvPicPr>
          <p:nvPr/>
        </p:nvPicPr>
        <p:blipFill>
          <a:blip r:embed="rId5"/>
          <a:stretch>
            <a:fillRect/>
          </a:stretch>
        </p:blipFill>
        <p:spPr>
          <a:xfrm>
            <a:off x="4376246" y="880840"/>
            <a:ext cx="8295738" cy="1148351"/>
          </a:xfrm>
          <a:prstGeom prst="rect">
            <a:avLst/>
          </a:prstGeom>
        </p:spPr>
      </p:pic>
      <p:pic>
        <p:nvPicPr>
          <p:cNvPr id="11" name="Picture 10" descr="A black background with white text&#10;&#10;Description automatically generated">
            <a:extLst>
              <a:ext uri="{FF2B5EF4-FFF2-40B4-BE49-F238E27FC236}">
                <a16:creationId xmlns:a16="http://schemas.microsoft.com/office/drawing/2014/main" id="{5FE79C8F-D921-DD23-B902-CE0808880730}"/>
              </a:ext>
            </a:extLst>
          </p:cNvPr>
          <p:cNvPicPr>
            <a:picLocks noChangeAspect="1"/>
          </p:cNvPicPr>
          <p:nvPr/>
        </p:nvPicPr>
        <p:blipFill>
          <a:blip r:embed="rId6"/>
          <a:stretch>
            <a:fillRect/>
          </a:stretch>
        </p:blipFill>
        <p:spPr>
          <a:xfrm>
            <a:off x="4478494" y="2323512"/>
            <a:ext cx="7873010" cy="1368238"/>
          </a:xfrm>
          <a:prstGeom prst="rect">
            <a:avLst/>
          </a:prstGeom>
        </p:spPr>
      </p:pic>
      <p:pic>
        <p:nvPicPr>
          <p:cNvPr id="12" name="Picture 11" descr="A black background with white text&#10;&#10;Description automatically generated">
            <a:extLst>
              <a:ext uri="{FF2B5EF4-FFF2-40B4-BE49-F238E27FC236}">
                <a16:creationId xmlns:a16="http://schemas.microsoft.com/office/drawing/2014/main" id="{9E747EFF-F017-710A-37AE-EF3A39E686F0}"/>
              </a:ext>
            </a:extLst>
          </p:cNvPr>
          <p:cNvPicPr>
            <a:picLocks noChangeAspect="1"/>
          </p:cNvPicPr>
          <p:nvPr/>
        </p:nvPicPr>
        <p:blipFill>
          <a:blip r:embed="rId7"/>
          <a:stretch>
            <a:fillRect/>
          </a:stretch>
        </p:blipFill>
        <p:spPr>
          <a:xfrm>
            <a:off x="4478494" y="3928161"/>
            <a:ext cx="9949133" cy="1496125"/>
          </a:xfrm>
          <a:prstGeom prst="rect">
            <a:avLst/>
          </a:prstGeom>
        </p:spPr>
      </p:pic>
      <p:sp>
        <p:nvSpPr>
          <p:cNvPr id="2" name="TextBox 1">
            <a:extLst>
              <a:ext uri="{FF2B5EF4-FFF2-40B4-BE49-F238E27FC236}">
                <a16:creationId xmlns:a16="http://schemas.microsoft.com/office/drawing/2014/main" id="{A8163628-8719-2C71-2C8A-59839EA24FEF}"/>
              </a:ext>
            </a:extLst>
          </p:cNvPr>
          <p:cNvSpPr txBox="1"/>
          <p:nvPr/>
        </p:nvSpPr>
        <p:spPr>
          <a:xfrm>
            <a:off x="9100799" y="5329996"/>
            <a:ext cx="2823465" cy="707886"/>
          </a:xfrm>
          <a:prstGeom prst="rect">
            <a:avLst/>
          </a:prstGeom>
          <a:noFill/>
        </p:spPr>
        <p:txBody>
          <a:bodyPr wrap="none" rtlCol="0">
            <a:spAutoFit/>
          </a:bodyPr>
          <a:lstStyle/>
          <a:p>
            <a:r>
              <a:rPr lang="en-GB" sz="4000" b="1" dirty="0">
                <a:solidFill>
                  <a:srgbClr val="DE0A1D"/>
                </a:solidFill>
              </a:rPr>
              <a:t>EVALUIEREN</a:t>
            </a:r>
            <a:endParaRPr lang="en-IE" sz="4000" b="1" dirty="0">
              <a:solidFill>
                <a:srgbClr val="DE0A1D"/>
              </a:solidFill>
            </a:endParaRPr>
          </a:p>
        </p:txBody>
      </p:sp>
      <p:sp>
        <p:nvSpPr>
          <p:cNvPr id="13" name="TextBox 12">
            <a:extLst>
              <a:ext uri="{FF2B5EF4-FFF2-40B4-BE49-F238E27FC236}">
                <a16:creationId xmlns:a16="http://schemas.microsoft.com/office/drawing/2014/main" id="{8A4ABB97-D7E9-B24D-BE29-B277FC3F8F3D}"/>
              </a:ext>
            </a:extLst>
          </p:cNvPr>
          <p:cNvSpPr txBox="1"/>
          <p:nvPr/>
        </p:nvSpPr>
        <p:spPr>
          <a:xfrm>
            <a:off x="-2517" y="5422330"/>
            <a:ext cx="7568097" cy="523220"/>
          </a:xfrm>
          <a:prstGeom prst="rect">
            <a:avLst/>
          </a:prstGeom>
          <a:noFill/>
        </p:spPr>
        <p:txBody>
          <a:bodyPr wrap="none" rtlCol="0">
            <a:spAutoFit/>
          </a:bodyPr>
          <a:lstStyle/>
          <a:p>
            <a:r>
              <a:rPr lang="en-GB" sz="2800" b="1" dirty="0">
                <a:solidFill>
                  <a:srgbClr val="DE0A1D"/>
                </a:solidFill>
              </a:rPr>
              <a:t>Wo befindet sich Ihr Kunde in diesem Kaufzyklus?</a:t>
            </a:r>
            <a:endParaRPr lang="en-IE" sz="2800" b="1" dirty="0">
              <a:solidFill>
                <a:srgbClr val="DE0A1D"/>
              </a:solidFill>
            </a:endParaRPr>
          </a:p>
        </p:txBody>
      </p:sp>
    </p:spTree>
    <p:extLst>
      <p:ext uri="{BB962C8B-B14F-4D97-AF65-F5344CB8AC3E}">
        <p14:creationId xmlns:p14="http://schemas.microsoft.com/office/powerpoint/2010/main" val="19151225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0">
            <a:extLst>
              <a:ext uri="{FF2B5EF4-FFF2-40B4-BE49-F238E27FC236}">
                <a16:creationId xmlns:a16="http://schemas.microsoft.com/office/drawing/2014/main" id="{3C6BEE93-6DB5-BF5B-6B1C-5988F4D5D40F}"/>
              </a:ext>
            </a:extLst>
          </p:cNvPr>
          <p:cNvSpPr/>
          <p:nvPr/>
        </p:nvSpPr>
        <p:spPr>
          <a:xfrm>
            <a:off x="2433" y="769586"/>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r>
              <a:rPr lang="en-US" sz="2400" dirty="0">
                <a:latin typeface="Calibri"/>
                <a:ea typeface="Calibri"/>
                <a:cs typeface="Calibri"/>
              </a:rPr>
              <a:t>Entwickeln Sie ein überzeugendes Verkaufsargument</a:t>
            </a:r>
            <a:endParaRPr lang="en-US" sz="2400" b="0" i="0" dirty="0">
              <a:latin typeface="Calibri" panose="020F0502020204030204" pitchFamily="34" charset="0"/>
            </a:endParaRPr>
          </a:p>
        </p:txBody>
      </p:sp>
      <p:sp>
        <p:nvSpPr>
          <p:cNvPr id="2" name="Text Placeholder 1">
            <a:extLst>
              <a:ext uri="{FF2B5EF4-FFF2-40B4-BE49-F238E27FC236}">
                <a16:creationId xmlns:a16="http://schemas.microsoft.com/office/drawing/2014/main" id="{FFF5DC01-5611-DA43-7232-C4916D654B58}"/>
              </a:ext>
            </a:extLst>
          </p:cNvPr>
          <p:cNvSpPr>
            <a:spLocks noGrp="1"/>
          </p:cNvSpPr>
          <p:nvPr>
            <p:ph type="body" sz="quarter" idx="18"/>
          </p:nvPr>
        </p:nvSpPr>
        <p:spPr>
          <a:xfrm>
            <a:off x="1129059" y="1715025"/>
            <a:ext cx="9934477" cy="3849918"/>
          </a:xfrm>
        </p:spPr>
        <p:txBody>
          <a:bodyPr lIns="91440" tIns="45720" rIns="91440" bIns="45720" anchor="t"/>
          <a:lstStyle/>
          <a:p>
            <a:r>
              <a:rPr lang="en-US" sz="1600" b="1" dirty="0">
                <a:solidFill>
                  <a:srgbClr val="DE0A1D"/>
                </a:solidFill>
                <a:ea typeface="Calibri"/>
                <a:cs typeface="Calibri"/>
              </a:rPr>
              <a:t>Schritt 1: </a:t>
            </a:r>
            <a:r>
              <a:rPr lang="en-US" sz="1600" dirty="0">
                <a:solidFill>
                  <a:srgbClr val="DE0A1D"/>
                </a:solidFill>
                <a:ea typeface="Calibri"/>
                <a:cs typeface="Calibri"/>
              </a:rPr>
              <a:t>Identifizieren Sie Ihre Alleinstellungsmerkmale (USP)</a:t>
            </a:r>
            <a:endParaRPr lang="en-US" sz="1600" dirty="0">
              <a:solidFill>
                <a:srgbClr val="DE0A1D"/>
              </a:solidFill>
            </a:endParaRPr>
          </a:p>
          <a:p>
            <a:pPr marL="0" indent="0"/>
            <a:r>
              <a:rPr lang="en-US" sz="1600" dirty="0">
                <a:solidFill>
                  <a:srgbClr val="003841"/>
                </a:solidFill>
                <a:ea typeface="Calibri"/>
                <a:cs typeface="Calibri"/>
              </a:rPr>
              <a:t>Definieren Sie aufbauend auf dem, was Sie zu den Besten macht, die 5 wichtigsten Dinge, die Sie tun, um Ihren Kunden einen Mehrwert zu bieten, der sich von dem Ihrer Wettbewerber unterscheidet.</a:t>
            </a:r>
            <a:endParaRPr lang="en-US" sz="1600" dirty="0"/>
          </a:p>
          <a:p>
            <a:r>
              <a:rPr lang="en-US" sz="1600" b="1" dirty="0">
                <a:solidFill>
                  <a:srgbClr val="DE0A1D"/>
                </a:solidFill>
                <a:ea typeface="Calibri"/>
                <a:cs typeface="Calibri"/>
              </a:rPr>
              <a:t>Schritt 2: </a:t>
            </a:r>
            <a:r>
              <a:rPr lang="en-US" sz="1600" dirty="0">
                <a:solidFill>
                  <a:srgbClr val="DE0A1D"/>
                </a:solidFill>
                <a:ea typeface="Calibri"/>
                <a:cs typeface="Calibri"/>
              </a:rPr>
              <a:t>Verstehen Sie den Nutzen dessen, was Sie verkaufen, aus der Sicht des Kunden </a:t>
            </a:r>
            <a:endParaRPr lang="en-US" sz="1600" dirty="0">
              <a:solidFill>
                <a:srgbClr val="DE0A1D"/>
              </a:solidFill>
            </a:endParaRPr>
          </a:p>
          <a:p>
            <a:r>
              <a:rPr lang="en-US" sz="1600" dirty="0">
                <a:solidFill>
                  <a:srgbClr val="003841"/>
                </a:solidFill>
                <a:ea typeface="Calibri"/>
                <a:cs typeface="Calibri"/>
              </a:rPr>
              <a:t>Geben Sie Beispiele dafür, wie Ihr Produkt oder Ihre Dienstleistung anderen Kunden einen Nutzen gebracht hat</a:t>
            </a:r>
            <a:endParaRPr lang="en-US" sz="1600" dirty="0">
              <a:ea typeface="Calibri"/>
              <a:cs typeface="Calibri"/>
            </a:endParaRPr>
          </a:p>
          <a:p>
            <a:pPr marL="0" indent="0"/>
            <a:r>
              <a:rPr lang="en-US" sz="1600" dirty="0">
                <a:solidFill>
                  <a:srgbClr val="003841"/>
                </a:solidFill>
                <a:ea typeface="Calibri"/>
                <a:cs typeface="Calibri"/>
              </a:rPr>
              <a:t>Wählen Sie relevante, ansprechende Beispiele, die den Bedürfnissen/Schmerzpunkten des Käufers, an den Sie verkaufen wollen, entsprechen oder diese erfüllen. </a:t>
            </a:r>
          </a:p>
          <a:p>
            <a:pPr marL="0" indent="0"/>
            <a:r>
              <a:rPr lang="en-US" sz="1600" b="1" dirty="0">
                <a:solidFill>
                  <a:srgbClr val="DE0A1D"/>
                </a:solidFill>
                <a:ea typeface="Calibri"/>
                <a:cs typeface="Calibri"/>
              </a:rPr>
              <a:t>Schritt 3: </a:t>
            </a:r>
            <a:r>
              <a:rPr lang="en-US" sz="1600" dirty="0">
                <a:solidFill>
                  <a:srgbClr val="DE0A1D"/>
                </a:solidFill>
                <a:ea typeface="Calibri"/>
                <a:cs typeface="Calibri"/>
              </a:rPr>
              <a:t>Mit Einwänden umgehen</a:t>
            </a:r>
            <a:endParaRPr lang="en-US" sz="1600" dirty="0">
              <a:solidFill>
                <a:srgbClr val="DE0A1D"/>
              </a:solidFill>
            </a:endParaRPr>
          </a:p>
          <a:p>
            <a:r>
              <a:rPr lang="en-US" sz="1600" b="1" dirty="0">
                <a:solidFill>
                  <a:srgbClr val="DE0A1D"/>
                </a:solidFill>
                <a:ea typeface="Calibri"/>
                <a:cs typeface="Calibri"/>
              </a:rPr>
              <a:t>Schritt 4: </a:t>
            </a:r>
            <a:r>
              <a:rPr lang="en-US" sz="1600" dirty="0">
                <a:solidFill>
                  <a:srgbClr val="DE0A1D"/>
                </a:solidFill>
                <a:ea typeface="Calibri"/>
                <a:cs typeface="Calibri"/>
              </a:rPr>
              <a:t>Schließen Sie das Geschäft ab!</a:t>
            </a:r>
            <a:endParaRPr lang="en-US" sz="1600" dirty="0">
              <a:ea typeface="Calibri"/>
              <a:cs typeface="Calibri"/>
            </a:endParaRPr>
          </a:p>
          <a:p>
            <a:endParaRPr lang="en-US" sz="1600" dirty="0">
              <a:ea typeface="Calibri"/>
              <a:cs typeface="Calibri"/>
            </a:endParaRPr>
          </a:p>
        </p:txBody>
      </p:sp>
      <p:sp>
        <p:nvSpPr>
          <p:cNvPr id="3" name="Text Placeholder 2">
            <a:extLst>
              <a:ext uri="{FF2B5EF4-FFF2-40B4-BE49-F238E27FC236}">
                <a16:creationId xmlns:a16="http://schemas.microsoft.com/office/drawing/2014/main" id="{F9C00CAB-C841-2C3C-C795-42D2D5169E08}"/>
              </a:ext>
            </a:extLst>
          </p:cNvPr>
          <p:cNvSpPr>
            <a:spLocks noGrp="1"/>
          </p:cNvSpPr>
          <p:nvPr>
            <p:ph type="body" sz="quarter" idx="16"/>
          </p:nvPr>
        </p:nvSpPr>
        <p:spPr>
          <a:xfrm>
            <a:off x="6556123" y="911371"/>
            <a:ext cx="4059171" cy="803654"/>
          </a:xfrm>
        </p:spPr>
        <p:txBody>
          <a:bodyPr lIns="91440" tIns="45720" rIns="91440" bIns="45720" anchor="t">
            <a:noAutofit/>
          </a:bodyPr>
          <a:lstStyle/>
          <a:p>
            <a:r>
              <a:rPr lang="en-US" sz="2400" b="1" dirty="0">
                <a:solidFill>
                  <a:srgbClr val="DE0A1D"/>
                </a:solidFill>
                <a:ea typeface="Calibri"/>
                <a:cs typeface="Calibri"/>
              </a:rPr>
              <a:t>Es ist ein 4-stufiger Prozess</a:t>
            </a:r>
          </a:p>
        </p:txBody>
      </p:sp>
    </p:spTree>
    <p:extLst>
      <p:ext uri="{BB962C8B-B14F-4D97-AF65-F5344CB8AC3E}">
        <p14:creationId xmlns:p14="http://schemas.microsoft.com/office/powerpoint/2010/main" val="25698076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sz="2400" dirty="0">
                <a:solidFill>
                  <a:schemeClr val="bg1"/>
                </a:solidFill>
              </a:rPr>
              <a:t>Identifizieren Sie Ihren USP und innovatives Verkaufen</a:t>
            </a:r>
          </a:p>
          <a:p>
            <a:endParaRPr lang="en-US" sz="2400" dirty="0"/>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1964864"/>
            <a:ext cx="916056" cy="769441"/>
          </a:xfrm>
          <a:prstGeom prst="rect">
            <a:avLst/>
          </a:prstGeom>
          <a:noFill/>
        </p:spPr>
        <p:txBody>
          <a:bodyPr wrap="square">
            <a:spAutoFit/>
          </a:bodyPr>
          <a:lstStyle/>
          <a:p>
            <a:pPr algn="ctr"/>
            <a:r>
              <a:rPr lang="en-US" sz="4400" dirty="0">
                <a:solidFill>
                  <a:schemeClr val="bg1"/>
                </a:solidFill>
              </a:rPr>
              <a:t>1</a:t>
            </a:r>
          </a:p>
        </p:txBody>
      </p: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899096" y="1964864"/>
            <a:ext cx="7282377"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95959"/>
                </a:solidFill>
                <a:effectLst/>
                <a:uLnTx/>
                <a:uFillTx/>
                <a:latin typeface="Calibri" panose="020F0502020204030204"/>
                <a:ea typeface="+mn-ea"/>
                <a:cs typeface="+mn-cs"/>
              </a:rPr>
              <a:t>Was bieten Sie Ihren Kunden, das sich von dem Ihrer Konkurrenten unterscheidet? </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dirty="0">
                <a:solidFill>
                  <a:srgbClr val="595959"/>
                </a:solidFill>
                <a:latin typeface="Calibri" panose="020F0502020204030204"/>
              </a:rPr>
              <a:t>Fragen Sie sich, welche Aspekte Ihres Produkts oder Ihrer Dienstleistung innovativ und einzigartig sind</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95959"/>
                </a:solidFill>
                <a:effectLst/>
                <a:uLnTx/>
                <a:uFillTx/>
                <a:latin typeface="Calibri" panose="020F0502020204030204"/>
                <a:ea typeface="+mn-ea"/>
                <a:cs typeface="+mn-cs"/>
              </a:rPr>
              <a:t>Warum sollte Ihr Kunde </a:t>
            </a:r>
            <a:r>
              <a:rPr lang="en-US" sz="1600" dirty="0">
                <a:solidFill>
                  <a:srgbClr val="595959"/>
                </a:solidFill>
                <a:latin typeface="Calibri" panose="020F0502020204030204"/>
              </a:rPr>
              <a:t>Ihnen vertraue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95959"/>
                </a:solidFill>
                <a:effectLst/>
                <a:uLnTx/>
                <a:uFillTx/>
                <a:latin typeface="Calibri" panose="020F0502020204030204"/>
                <a:ea typeface="+mn-ea"/>
                <a:cs typeface="+mn-cs"/>
              </a:rPr>
              <a:t>Warum sollte sich Ihr Kunde für Ihre Lösung entscheide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95959"/>
                </a:solidFill>
                <a:effectLst/>
                <a:uLnTx/>
                <a:uFillTx/>
                <a:latin typeface="Calibri" panose="020F0502020204030204"/>
                <a:ea typeface="+mn-ea"/>
                <a:cs typeface="+mn-cs"/>
              </a:rPr>
              <a:t>Welchen Nutzen hat der Kunde von der Investition in Ihre Lösung?</a:t>
            </a:r>
          </a:p>
        </p:txBody>
      </p:sp>
      <p:sp>
        <p:nvSpPr>
          <p:cNvPr id="5" name="TextBox 4">
            <a:extLst>
              <a:ext uri="{FF2B5EF4-FFF2-40B4-BE49-F238E27FC236}">
                <a16:creationId xmlns:a16="http://schemas.microsoft.com/office/drawing/2014/main" id="{703FC9D5-4D45-542C-7C8D-0C65D8BD9614}"/>
              </a:ext>
            </a:extLst>
          </p:cNvPr>
          <p:cNvSpPr txBox="1"/>
          <p:nvPr/>
        </p:nvSpPr>
        <p:spPr>
          <a:xfrm>
            <a:off x="8630820" y="1780198"/>
            <a:ext cx="632662" cy="369332"/>
          </a:xfrm>
          <a:prstGeom prst="rect">
            <a:avLst/>
          </a:prstGeom>
          <a:noFill/>
        </p:spPr>
        <p:txBody>
          <a:bodyPr wrap="square" rtlCol="0">
            <a:spAutoFit/>
          </a:bodyPr>
          <a:lstStyle/>
          <a:p>
            <a:r>
              <a:rPr lang="en-GB" dirty="0">
                <a:solidFill>
                  <a:schemeClr val="bg1"/>
                </a:solidFill>
              </a:rPr>
              <a:t>STEP</a:t>
            </a:r>
            <a:endParaRPr lang="en-IE" dirty="0">
              <a:solidFill>
                <a:schemeClr val="bg1"/>
              </a:solidFill>
            </a:endParaRPr>
          </a:p>
        </p:txBody>
      </p:sp>
    </p:spTree>
    <p:extLst>
      <p:ext uri="{BB962C8B-B14F-4D97-AF65-F5344CB8AC3E}">
        <p14:creationId xmlns:p14="http://schemas.microsoft.com/office/powerpoint/2010/main" val="14204604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797429"/>
            <a:ext cx="8033435" cy="136707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16591" y="906002"/>
            <a:ext cx="9632553" cy="803654"/>
          </a:xfrm>
        </p:spPr>
        <p:txBody>
          <a:bodyPr/>
          <a:lstStyle/>
          <a:p>
            <a:r>
              <a:rPr lang="en-US" sz="2800" dirty="0">
                <a:solidFill>
                  <a:schemeClr val="bg1"/>
                </a:solidFill>
              </a:rPr>
              <a:t>Verstehen Sie die Vorteile dessen, was Sie sind </a:t>
            </a:r>
          </a:p>
          <a:p>
            <a:r>
              <a:rPr lang="en-US" sz="2800" dirty="0">
                <a:solidFill>
                  <a:schemeClr val="bg1"/>
                </a:solidFill>
              </a:rPr>
              <a:t>Verkaufen aus der Kundenperspektive</a:t>
            </a:r>
          </a:p>
          <a:p>
            <a:endParaRPr lang="en-US" sz="2800" dirty="0"/>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1964864"/>
            <a:ext cx="916056" cy="769441"/>
          </a:xfrm>
          <a:prstGeom prst="rect">
            <a:avLst/>
          </a:prstGeom>
          <a:noFill/>
        </p:spPr>
        <p:txBody>
          <a:bodyPr wrap="square">
            <a:spAutoFit/>
          </a:bodyPr>
          <a:lstStyle/>
          <a:p>
            <a:pPr algn="ctr"/>
            <a:r>
              <a:rPr lang="en-US" sz="4400" dirty="0">
                <a:solidFill>
                  <a:schemeClr val="bg1"/>
                </a:solidFill>
              </a:rPr>
              <a:t>2</a:t>
            </a:r>
          </a:p>
        </p:txBody>
      </p:sp>
      <p:sp>
        <p:nvSpPr>
          <p:cNvPr id="5" name="TextBox 4">
            <a:extLst>
              <a:ext uri="{FF2B5EF4-FFF2-40B4-BE49-F238E27FC236}">
                <a16:creationId xmlns:a16="http://schemas.microsoft.com/office/drawing/2014/main" id="{703FC9D5-4D45-542C-7C8D-0C65D8BD9614}"/>
              </a:ext>
            </a:extLst>
          </p:cNvPr>
          <p:cNvSpPr txBox="1"/>
          <p:nvPr/>
        </p:nvSpPr>
        <p:spPr>
          <a:xfrm>
            <a:off x="8630820" y="1780198"/>
            <a:ext cx="632662" cy="369332"/>
          </a:xfrm>
          <a:prstGeom prst="rect">
            <a:avLst/>
          </a:prstGeom>
          <a:noFill/>
        </p:spPr>
        <p:txBody>
          <a:bodyPr wrap="square" rtlCol="0">
            <a:spAutoFit/>
          </a:bodyPr>
          <a:lstStyle/>
          <a:p>
            <a:r>
              <a:rPr lang="en-GB" dirty="0">
                <a:solidFill>
                  <a:schemeClr val="bg1"/>
                </a:solidFill>
              </a:rPr>
              <a:t>STEP</a:t>
            </a:r>
            <a:endParaRPr lang="en-IE" dirty="0">
              <a:solidFill>
                <a:schemeClr val="bg1"/>
              </a:solidFill>
            </a:endParaRPr>
          </a:p>
        </p:txBody>
      </p:sp>
      <p:sp>
        <p:nvSpPr>
          <p:cNvPr id="7" name="Text Placeholder 2">
            <a:extLst>
              <a:ext uri="{FF2B5EF4-FFF2-40B4-BE49-F238E27FC236}">
                <a16:creationId xmlns:a16="http://schemas.microsoft.com/office/drawing/2014/main" id="{CCE44D61-3DF6-E273-F3C9-12F7DE6C3A00}"/>
              </a:ext>
            </a:extLst>
          </p:cNvPr>
          <p:cNvSpPr txBox="1">
            <a:spLocks/>
          </p:cNvSpPr>
          <p:nvPr/>
        </p:nvSpPr>
        <p:spPr>
          <a:xfrm>
            <a:off x="7972531" y="707249"/>
            <a:ext cx="3553225" cy="803654"/>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1" dirty="0">
                <a:solidFill>
                  <a:srgbClr val="DE0A1D"/>
                </a:solidFill>
              </a:rPr>
              <a:t>Eine tolle Geschichte erzählen Artikulieren</a:t>
            </a:r>
            <a:endParaRPr lang="en-IE" sz="2400" b="1" dirty="0">
              <a:solidFill>
                <a:srgbClr val="DE0A1D"/>
              </a:solidFill>
            </a:endParaRPr>
          </a:p>
        </p:txBody>
      </p:sp>
      <p:sp>
        <p:nvSpPr>
          <p:cNvPr id="8" name="Text Placeholder 1">
            <a:extLst>
              <a:ext uri="{FF2B5EF4-FFF2-40B4-BE49-F238E27FC236}">
                <a16:creationId xmlns:a16="http://schemas.microsoft.com/office/drawing/2014/main" id="{B42781A1-A76A-90B8-9ABC-AB13D29FE229}"/>
              </a:ext>
            </a:extLst>
          </p:cNvPr>
          <p:cNvSpPr txBox="1">
            <a:spLocks/>
          </p:cNvSpPr>
          <p:nvPr/>
        </p:nvSpPr>
        <p:spPr>
          <a:xfrm>
            <a:off x="475390" y="2175288"/>
            <a:ext cx="7872036" cy="107398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buFont typeface="Arial" panose="020B0604020202020204" pitchFamily="34" charset="0"/>
              <a:buChar char="•"/>
            </a:pPr>
            <a:r>
              <a:rPr lang="en-GB" sz="1800" dirty="0"/>
              <a:t>Der beste Weg, um Vertrauen zu gewinnen und Ihren Wert zu beweisen, ist eine persönliche Perspektive, z.B. eine frühere Kundenerfahrung</a:t>
            </a:r>
          </a:p>
          <a:p>
            <a:pPr marL="342900" indent="-342900" algn="just">
              <a:buFont typeface="Arial" panose="020B0604020202020204" pitchFamily="34" charset="0"/>
              <a:buChar char="•"/>
            </a:pPr>
            <a:r>
              <a:rPr lang="en-GB" sz="1800" dirty="0"/>
              <a:t>Beweisen Sie den Wert, den Sie bieten können </a:t>
            </a:r>
          </a:p>
          <a:p>
            <a:pPr marL="0" indent="0" algn="just"/>
            <a:endParaRPr lang="en-IE" sz="1800" i="1" dirty="0"/>
          </a:p>
        </p:txBody>
      </p:sp>
      <p:sp>
        <p:nvSpPr>
          <p:cNvPr id="10" name="Text Placeholder 1">
            <a:extLst>
              <a:ext uri="{FF2B5EF4-FFF2-40B4-BE49-F238E27FC236}">
                <a16:creationId xmlns:a16="http://schemas.microsoft.com/office/drawing/2014/main" id="{BB0AD65C-0DBA-690B-143A-A49A4378574F}"/>
              </a:ext>
            </a:extLst>
          </p:cNvPr>
          <p:cNvSpPr>
            <a:spLocks noGrp="1"/>
          </p:cNvSpPr>
          <p:nvPr>
            <p:ph type="body" sz="quarter" idx="18"/>
          </p:nvPr>
        </p:nvSpPr>
        <p:spPr>
          <a:xfrm>
            <a:off x="475390" y="3807254"/>
            <a:ext cx="8342747" cy="3050746"/>
          </a:xfrm>
        </p:spPr>
        <p:txBody>
          <a:bodyPr/>
          <a:lstStyle/>
          <a:p>
            <a:pPr marL="342900" indent="-342900" algn="just">
              <a:buFont typeface="Arial" panose="020B0604020202020204" pitchFamily="34" charset="0"/>
              <a:buChar char="•"/>
            </a:pPr>
            <a:r>
              <a:rPr lang="en-GB" sz="1800" i="1" dirty="0"/>
              <a:t> Kim hatte Schwierigkeiten, die steigenden Verwaltungskosten zu bewältigen, die durch die zunehmende Regulierung im Bereich der Lebensmittelproduktion verursacht wurden. Sie hatte einen manuellen Produktvertriebsprozess, der auf Mindesthaltbarkeitsdaten und Auftragsabwicklung basierte. Ich habe eine KI-Lösung entwickelt, die den Verwaltungsaufwand um 80 % reduziert und zu einem Umsatzwachstum von 8 % beigetragen hat.</a:t>
            </a:r>
            <a:endParaRPr lang="en-IE" sz="1800" i="1" dirty="0"/>
          </a:p>
        </p:txBody>
      </p:sp>
    </p:spTree>
    <p:extLst>
      <p:ext uri="{BB962C8B-B14F-4D97-AF65-F5344CB8AC3E}">
        <p14:creationId xmlns:p14="http://schemas.microsoft.com/office/powerpoint/2010/main" val="222784814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E1896B-EB07-5380-8FD1-DA26AE28C3A9}"/>
              </a:ext>
            </a:extLst>
          </p:cNvPr>
          <p:cNvSpPr>
            <a:spLocks noGrp="1"/>
          </p:cNvSpPr>
          <p:nvPr>
            <p:ph type="body" sz="quarter" idx="18"/>
          </p:nvPr>
        </p:nvSpPr>
        <p:spPr>
          <a:xfrm>
            <a:off x="850231" y="544359"/>
            <a:ext cx="5767138" cy="3291086"/>
          </a:xfrm>
        </p:spPr>
        <p:txBody>
          <a:bodyPr/>
          <a:lstStyle/>
          <a:p>
            <a:pPr marL="0" indent="0">
              <a:spcBef>
                <a:spcPts val="0"/>
              </a:spcBef>
              <a:buClr>
                <a:srgbClr val="EC2179"/>
              </a:buClr>
            </a:pPr>
            <a:r>
              <a:rPr lang="en-US" sz="1800" dirty="0"/>
              <a:t>Es geht nicht darum, Versprechungen zu machen, sondern darum, Beweise zu liefern!</a:t>
            </a:r>
          </a:p>
          <a:p>
            <a:pPr marL="342900" indent="-342900">
              <a:spcBef>
                <a:spcPts val="0"/>
              </a:spcBef>
              <a:buClr>
                <a:srgbClr val="EC2179"/>
              </a:buClr>
              <a:buFont typeface="Arial" charset="0"/>
              <a:buChar char="•"/>
            </a:pPr>
            <a:endParaRPr lang="en-US" sz="1000" dirty="0"/>
          </a:p>
          <a:p>
            <a:pPr marL="0" indent="0">
              <a:spcBef>
                <a:spcPts val="0"/>
              </a:spcBef>
              <a:buClr>
                <a:srgbClr val="EC2179"/>
              </a:buClr>
            </a:pPr>
            <a:r>
              <a:rPr lang="en-US" sz="1800" dirty="0"/>
              <a:t>Können Sie Ihr Produkt oder Ihre Dienstleistung </a:t>
            </a:r>
            <a:r>
              <a:rPr lang="en-US" sz="1800" b="1" dirty="0">
                <a:solidFill>
                  <a:srgbClr val="DE0A1D"/>
                </a:solidFill>
              </a:rPr>
              <a:t>demonstrieren</a:t>
            </a:r>
            <a:r>
              <a:rPr lang="en-US" sz="1800" dirty="0"/>
              <a:t>?</a:t>
            </a:r>
          </a:p>
          <a:p>
            <a:pPr marL="0" indent="0">
              <a:spcBef>
                <a:spcPts val="0"/>
              </a:spcBef>
              <a:buClr>
                <a:srgbClr val="EC2179"/>
              </a:buClr>
            </a:pPr>
            <a:endParaRPr lang="en-US" sz="1800" dirty="0"/>
          </a:p>
          <a:p>
            <a:pPr marL="0" indent="0">
              <a:spcBef>
                <a:spcPts val="0"/>
              </a:spcBef>
              <a:buClr>
                <a:srgbClr val="EC2179"/>
              </a:buClr>
            </a:pPr>
            <a:r>
              <a:rPr lang="en-US" sz="1800" dirty="0"/>
              <a:t>Nutzen Sie Video, VR oder andere </a:t>
            </a:r>
            <a:r>
              <a:rPr lang="en-US" sz="1800" b="1" dirty="0">
                <a:solidFill>
                  <a:srgbClr val="DE0A1D"/>
                </a:solidFill>
              </a:rPr>
              <a:t>Tools </a:t>
            </a:r>
            <a:r>
              <a:rPr lang="en-US" sz="1800" dirty="0"/>
              <a:t>zu Ihrer Unterstützung </a:t>
            </a:r>
          </a:p>
          <a:p>
            <a:pPr marL="0" indent="0">
              <a:spcBef>
                <a:spcPts val="0"/>
              </a:spcBef>
              <a:buClr>
                <a:srgbClr val="EC2179"/>
              </a:buClr>
            </a:pPr>
            <a:endParaRPr lang="en-US" sz="1800" dirty="0"/>
          </a:p>
          <a:p>
            <a:pPr marL="0" marR="0" lvl="0" indent="0" algn="l" defTabSz="914400" rtl="0" eaLnBrk="1" fontAlgn="auto" latinLnBrk="0" hangingPunct="1">
              <a:lnSpc>
                <a:spcPct val="90000"/>
              </a:lnSpc>
              <a:spcBef>
                <a:spcPts val="0"/>
              </a:spcBef>
              <a:spcAft>
                <a:spcPts val="0"/>
              </a:spcAft>
              <a:buClr>
                <a:srgbClr val="EC2179"/>
              </a:buClr>
              <a:buSzTx/>
              <a:buFont typeface="Arial" panose="020B0604020202020204" pitchFamily="34" charset="0"/>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Können Sie ein Dienstleistungsangebot </a:t>
            </a:r>
            <a:r>
              <a:rPr kumimoji="0" lang="en-US" sz="1800" b="1" i="0" u="none" strike="noStrike" kern="1200" cap="none" spc="0" normalizeH="0" baseline="0" noProof="0" dirty="0">
                <a:ln>
                  <a:noFill/>
                </a:ln>
                <a:solidFill>
                  <a:srgbClr val="DE0A1D"/>
                </a:solidFill>
                <a:effectLst/>
                <a:uLnTx/>
                <a:uFillTx/>
                <a:latin typeface="Calibri" panose="020F0502020204030204"/>
                <a:ea typeface="+mn-ea"/>
                <a:cs typeface="+mn-cs"/>
              </a:rPr>
              <a:t>vorweisen</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t>
            </a:r>
          </a:p>
          <a:p>
            <a:pPr marL="363537" indent="0">
              <a:spcBef>
                <a:spcPts val="0"/>
              </a:spcBef>
              <a:buClr>
                <a:srgbClr val="EC2179"/>
              </a:buClr>
            </a:pPr>
            <a:endParaRPr lang="en-US" sz="1000" dirty="0"/>
          </a:p>
          <a:p>
            <a:pPr marL="0" indent="0">
              <a:spcBef>
                <a:spcPts val="0"/>
              </a:spcBef>
              <a:buClr>
                <a:srgbClr val="EC2179"/>
              </a:buClr>
            </a:pPr>
            <a:r>
              <a:rPr lang="en-US" sz="1800" dirty="0"/>
              <a:t>Wenn Ihr </a:t>
            </a:r>
            <a:r>
              <a:rPr lang="en-US" sz="1800" b="1" dirty="0">
                <a:solidFill>
                  <a:srgbClr val="DE0A1D"/>
                </a:solidFill>
              </a:rPr>
              <a:t>Fachwissen Ihr Produkt ist</a:t>
            </a:r>
            <a:r>
              <a:rPr lang="en-US" sz="1800" dirty="0"/>
              <a:t>, dann sollten Sie Materialien erstellen, die Ihre Intelligenz unterstreichen.</a:t>
            </a:r>
          </a:p>
          <a:p>
            <a:pPr marL="669925" indent="-306388">
              <a:spcBef>
                <a:spcPts val="0"/>
              </a:spcBef>
              <a:buClr>
                <a:srgbClr val="EC2179"/>
              </a:buClr>
            </a:pPr>
            <a:r>
              <a:rPr lang="en-US" sz="1800" dirty="0"/>
              <a:t>Unser Leitfaden zum Herunterladen...</a:t>
            </a:r>
          </a:p>
          <a:p>
            <a:pPr marL="669925" indent="-306388">
              <a:spcBef>
                <a:spcPts val="0"/>
              </a:spcBef>
              <a:buClr>
                <a:srgbClr val="EC2179"/>
              </a:buClr>
            </a:pPr>
            <a:r>
              <a:rPr lang="en-US" sz="1800" dirty="0"/>
              <a:t>Unsere Podcast-Serie über...</a:t>
            </a:r>
          </a:p>
          <a:p>
            <a:pPr marL="669925" indent="-306388">
              <a:spcBef>
                <a:spcPts val="0"/>
              </a:spcBef>
              <a:buClr>
                <a:srgbClr val="EC2179"/>
              </a:buClr>
            </a:pPr>
            <a:r>
              <a:rPr lang="en-US" sz="1800" dirty="0"/>
              <a:t>Unser YouTube-Kanal...</a:t>
            </a:r>
          </a:p>
          <a:p>
            <a:pPr marL="669925" indent="-306388">
              <a:spcBef>
                <a:spcPts val="0"/>
              </a:spcBef>
              <a:buClr>
                <a:srgbClr val="EC2179"/>
              </a:buClr>
            </a:pPr>
            <a:endParaRPr lang="en-US" sz="1800" dirty="0"/>
          </a:p>
          <a:p>
            <a:endParaRPr lang="en-IE" sz="1800" dirty="0"/>
          </a:p>
        </p:txBody>
      </p:sp>
      <p:sp>
        <p:nvSpPr>
          <p:cNvPr id="3" name="Text Placeholder 2">
            <a:extLst>
              <a:ext uri="{FF2B5EF4-FFF2-40B4-BE49-F238E27FC236}">
                <a16:creationId xmlns:a16="http://schemas.microsoft.com/office/drawing/2014/main" id="{681FF18C-FBA4-0A8F-9092-6F816935DD99}"/>
              </a:ext>
            </a:extLst>
          </p:cNvPr>
          <p:cNvSpPr>
            <a:spLocks noGrp="1"/>
          </p:cNvSpPr>
          <p:nvPr>
            <p:ph type="body" sz="quarter" idx="16"/>
          </p:nvPr>
        </p:nvSpPr>
        <p:spPr>
          <a:xfrm>
            <a:off x="8774130" y="427901"/>
            <a:ext cx="3281513" cy="992652"/>
          </a:xfrm>
        </p:spPr>
        <p:txBody>
          <a:bodyPr/>
          <a:lstStyle/>
          <a:p>
            <a:r>
              <a:rPr lang="en-GB" b="1" dirty="0" err="1">
                <a:solidFill>
                  <a:srgbClr val="DE0A1D"/>
                </a:solidFill>
              </a:rPr>
              <a:t>Demonstrieren</a:t>
            </a:r>
            <a:endParaRPr lang="en-IE" b="1" dirty="0">
              <a:solidFill>
                <a:srgbClr val="DE0A1D"/>
              </a:solidFill>
            </a:endParaRPr>
          </a:p>
        </p:txBody>
      </p:sp>
      <p:pic>
        <p:nvPicPr>
          <p:cNvPr id="4" name="Picture Placeholder 9">
            <a:extLst>
              <a:ext uri="{FF2B5EF4-FFF2-40B4-BE49-F238E27FC236}">
                <a16:creationId xmlns:a16="http://schemas.microsoft.com/office/drawing/2014/main" id="{66AC81E2-799E-56D3-7DAD-B77D450A9BD8}"/>
              </a:ext>
            </a:extLst>
          </p:cNvPr>
          <p:cNvPicPr>
            <a:picLocks noGrp="1" noChangeAspect="1"/>
          </p:cNvPicPr>
          <p:nvPr>
            <p:ph type="pic" sz="quarter" idx="10"/>
          </p:nvPr>
        </p:nvPicPr>
        <p:blipFill>
          <a:blip r:embed="rId2"/>
          <a:srcRect l="6295" r="6295"/>
          <a:stretch>
            <a:fillRect/>
          </a:stretch>
        </p:blipFill>
        <p:spPr>
          <a:xfrm>
            <a:off x="7061200" y="1420813"/>
            <a:ext cx="5130800" cy="3913187"/>
          </a:xfrm>
        </p:spPr>
      </p:pic>
    </p:spTree>
    <p:extLst>
      <p:ext uri="{BB962C8B-B14F-4D97-AF65-F5344CB8AC3E}">
        <p14:creationId xmlns:p14="http://schemas.microsoft.com/office/powerpoint/2010/main" val="858132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462127" y="2172725"/>
            <a:ext cx="6067480" cy="3849918"/>
          </a:xfrm>
        </p:spPr>
        <p:txBody>
          <a:bodyPr/>
          <a:lstStyle/>
          <a:p>
            <a:pPr marL="0" indent="0"/>
            <a:r>
              <a:rPr lang="en-US" sz="2400" dirty="0"/>
              <a:t>Viele Menschen fragen sich, was der Unterschied zwischen Vertrieb und Marketing ist. Um es klar zu sagen: Marketing und Vertrieb sind zwar im Geschäftsleben miteinander verbunden, aber sie sind nicht dasselbe. </a:t>
            </a:r>
            <a:endParaRPr lang="en-US" sz="1800" dirty="0"/>
          </a:p>
          <a:p>
            <a:pPr marL="0" indent="0"/>
            <a:r>
              <a:rPr lang="en-US" sz="2400" dirty="0"/>
              <a:t>In diesem Modul befassen wir uns zunächst mit dem Marketing und was das für Sie und Ihr Unternehmen bedeutet, und dann mit dem Motor Ihres Unternehmens, dem Vertrieb.</a:t>
            </a:r>
          </a:p>
          <a:p>
            <a:endParaRPr lang="en-US" dirty="0"/>
          </a:p>
          <a:p>
            <a:endParaRPr lang="en-US" dirty="0"/>
          </a:p>
        </p:txBody>
      </p:sp>
      <p:sp>
        <p:nvSpPr>
          <p:cNvPr id="2" name="Freeform 1">
            <a:extLst>
              <a:ext uri="{FF2B5EF4-FFF2-40B4-BE49-F238E27FC236}">
                <a16:creationId xmlns:a16="http://schemas.microsoft.com/office/drawing/2014/main" id="{7B83FC6B-9FCD-D7A3-CB13-234D96458BFD}"/>
              </a:ext>
            </a:extLst>
          </p:cNvPr>
          <p:cNvSpPr/>
          <p:nvPr/>
        </p:nvSpPr>
        <p:spPr>
          <a:xfrm>
            <a:off x="930442" y="718623"/>
            <a:ext cx="10106526" cy="1064720"/>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481137" y="761603"/>
            <a:ext cx="6949797" cy="803654"/>
          </a:xfrm>
        </p:spPr>
        <p:txBody>
          <a:bodyPr/>
          <a:lstStyle/>
          <a:p>
            <a:r>
              <a:rPr lang="en-US">
                <a:solidFill>
                  <a:schemeClr val="bg1"/>
                </a:solidFill>
              </a:rPr>
              <a:t>Die Beziehung zwischen Marketing und Vertrieb</a:t>
            </a:r>
            <a:endParaRPr lang="en-US"/>
          </a:p>
        </p:txBody>
      </p:sp>
      <p:pic>
        <p:nvPicPr>
          <p:cNvPr id="3" name="Picture Placeholder 8">
            <a:extLst>
              <a:ext uri="{FF2B5EF4-FFF2-40B4-BE49-F238E27FC236}">
                <a16:creationId xmlns:a16="http://schemas.microsoft.com/office/drawing/2014/main" id="{3669CD0E-1BDC-32C5-79FD-7CF070B93BFF}"/>
              </a:ext>
            </a:extLst>
          </p:cNvPr>
          <p:cNvPicPr>
            <a:picLocks noChangeAspect="1"/>
          </p:cNvPicPr>
          <p:nvPr/>
        </p:nvPicPr>
        <p:blipFill rotWithShape="1">
          <a:blip r:embed="rId2">
            <a:extLst>
              <a:ext uri="{28A0092B-C50C-407E-A947-70E740481C1C}">
                <a14:useLocalDpi xmlns:a14="http://schemas.microsoft.com/office/drawing/2010/main" val="0"/>
              </a:ext>
            </a:extLst>
          </a:blip>
          <a:srcRect l="18891" r="27347"/>
          <a:stretch/>
        </p:blipFill>
        <p:spPr>
          <a:xfrm>
            <a:off x="402070" y="329241"/>
            <a:ext cx="3829479" cy="4751105"/>
          </a:xfrm>
          <a:custGeom>
            <a:avLst/>
            <a:gdLst>
              <a:gd name="connsiteX0" fmla="*/ 0 w 5527675"/>
              <a:gd name="connsiteY0" fmla="*/ 0 h 6858000"/>
              <a:gd name="connsiteX1" fmla="*/ 5527675 w 5527675"/>
              <a:gd name="connsiteY1" fmla="*/ 0 h 6858000"/>
              <a:gd name="connsiteX2" fmla="*/ 5527675 w 5527675"/>
              <a:gd name="connsiteY2" fmla="*/ 572817 h 6858000"/>
              <a:gd name="connsiteX3" fmla="*/ 4339988 w 5527675"/>
              <a:gd name="connsiteY3" fmla="*/ 572817 h 6858000"/>
              <a:gd name="connsiteX4" fmla="*/ 4339988 w 5527675"/>
              <a:gd name="connsiteY4" fmla="*/ 2129051 h 6858000"/>
              <a:gd name="connsiteX5" fmla="*/ 5527675 w 5527675"/>
              <a:gd name="connsiteY5" fmla="*/ 2129051 h 6858000"/>
              <a:gd name="connsiteX6" fmla="*/ 5527675 w 5527675"/>
              <a:gd name="connsiteY6" fmla="*/ 6858000 h 6858000"/>
              <a:gd name="connsiteX7" fmla="*/ 0 w 55276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7675" h="6858000">
                <a:moveTo>
                  <a:pt x="0" y="0"/>
                </a:moveTo>
                <a:lnTo>
                  <a:pt x="5527675" y="0"/>
                </a:lnTo>
                <a:lnTo>
                  <a:pt x="5527675" y="572817"/>
                </a:lnTo>
                <a:lnTo>
                  <a:pt x="4339988" y="572817"/>
                </a:lnTo>
                <a:lnTo>
                  <a:pt x="4339988" y="2129051"/>
                </a:lnTo>
                <a:lnTo>
                  <a:pt x="5527675" y="2129051"/>
                </a:lnTo>
                <a:lnTo>
                  <a:pt x="5527675" y="6858000"/>
                </a:lnTo>
                <a:lnTo>
                  <a:pt x="0" y="6858000"/>
                </a:lnTo>
                <a:close/>
              </a:path>
            </a:pathLst>
          </a:custGeom>
        </p:spPr>
      </p:pic>
    </p:spTree>
    <p:extLst>
      <p:ext uri="{BB962C8B-B14F-4D97-AF65-F5344CB8AC3E}">
        <p14:creationId xmlns:p14="http://schemas.microsoft.com/office/powerpoint/2010/main" val="9164386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A6ECAD-F059-757E-CEF4-837FAA102E83}"/>
              </a:ext>
            </a:extLst>
          </p:cNvPr>
          <p:cNvSpPr>
            <a:spLocks noGrp="1"/>
          </p:cNvSpPr>
          <p:nvPr>
            <p:ph type="body" sz="quarter" idx="18"/>
          </p:nvPr>
        </p:nvSpPr>
        <p:spPr>
          <a:xfrm>
            <a:off x="1509269" y="1505882"/>
            <a:ext cx="10188149" cy="3440624"/>
          </a:xfrm>
        </p:spPr>
        <p:txBody>
          <a:bodyPr/>
          <a:lstStyle/>
          <a:p>
            <a:pPr marL="342900" indent="-342900">
              <a:lnSpc>
                <a:spcPct val="150000"/>
              </a:lnSpc>
              <a:spcBef>
                <a:spcPts val="0"/>
              </a:spcBef>
              <a:buClr>
                <a:srgbClr val="DE0A1D"/>
              </a:buClr>
              <a:buFont typeface="Arial" panose="020B0604020202020204" pitchFamily="34" charset="0"/>
              <a:buChar char="•"/>
            </a:pPr>
            <a:r>
              <a:rPr lang="en-US" sz="2000" dirty="0"/>
              <a:t>Identifizieren Sie Kaufmotive - rationale und emotionale</a:t>
            </a:r>
          </a:p>
          <a:p>
            <a:pPr marL="342900" indent="-342900">
              <a:lnSpc>
                <a:spcPct val="150000"/>
              </a:lnSpc>
              <a:spcBef>
                <a:spcPts val="0"/>
              </a:spcBef>
              <a:buClr>
                <a:srgbClr val="DE0A1D"/>
              </a:buClr>
              <a:buFont typeface="Arial" panose="020B0604020202020204" pitchFamily="34" charset="0"/>
              <a:buChar char="•"/>
            </a:pPr>
            <a:r>
              <a:rPr lang="en-US" sz="2000" dirty="0"/>
              <a:t>Rational - Gewinn, Gesundheit, Sicherheit, Nützlichkeit, Vorsicht</a:t>
            </a:r>
          </a:p>
          <a:p>
            <a:pPr marL="342900" indent="-342900">
              <a:lnSpc>
                <a:spcPct val="150000"/>
              </a:lnSpc>
              <a:spcBef>
                <a:spcPts val="0"/>
              </a:spcBef>
              <a:buClr>
                <a:srgbClr val="DE0A1D"/>
              </a:buClr>
              <a:buFont typeface="Arial" panose="020B0604020202020204" pitchFamily="34" charset="0"/>
              <a:buChar char="•"/>
            </a:pPr>
            <a:r>
              <a:rPr lang="en-US" sz="2000" dirty="0"/>
              <a:t>Emotional - Furcht, Neid, Liebe, Unterhaltung, Stolz, Vergnügen</a:t>
            </a:r>
          </a:p>
          <a:p>
            <a:pPr marL="342900" indent="-342900">
              <a:lnSpc>
                <a:spcPct val="150000"/>
              </a:lnSpc>
              <a:spcBef>
                <a:spcPts val="0"/>
              </a:spcBef>
              <a:buClr>
                <a:srgbClr val="DE0A1D"/>
              </a:buClr>
              <a:buFont typeface="Arial" panose="020B0604020202020204" pitchFamily="34" charset="0"/>
              <a:buChar char="•"/>
            </a:pPr>
            <a:r>
              <a:rPr lang="en-US" sz="2000" dirty="0"/>
              <a:t>Identifizieren Sie den vorherrschenden Kaufdrang</a:t>
            </a:r>
          </a:p>
          <a:p>
            <a:pPr marL="342900" indent="-342900">
              <a:lnSpc>
                <a:spcPct val="150000"/>
              </a:lnSpc>
              <a:spcBef>
                <a:spcPts val="0"/>
              </a:spcBef>
              <a:buClr>
                <a:srgbClr val="DE0A1D"/>
              </a:buClr>
              <a:buFont typeface="Arial" panose="020B0604020202020204" pitchFamily="34" charset="0"/>
              <a:buChar char="•"/>
            </a:pPr>
            <a:r>
              <a:rPr lang="en-US" sz="2000" dirty="0"/>
              <a:t>Was ist der wichtigste Grund, warum der Interessent ein Produkt oder eine Dienstleistung dieser Art haben möchte?</a:t>
            </a:r>
          </a:p>
          <a:p>
            <a:pPr marL="342900" indent="-342900">
              <a:lnSpc>
                <a:spcPct val="150000"/>
              </a:lnSpc>
              <a:spcBef>
                <a:spcPts val="0"/>
              </a:spcBef>
              <a:buClr>
                <a:srgbClr val="DE0A1D"/>
              </a:buClr>
              <a:buFont typeface="Arial" panose="020B0604020202020204" pitchFamily="34" charset="0"/>
              <a:buChar char="•"/>
            </a:pPr>
            <a:r>
              <a:rPr lang="en-US" sz="2000" dirty="0"/>
              <a:t>Beweisen und untermauern Sie Ihre Behauptungen, z. B. durch Mundpropaganda und Empfehlungen, verwenden Sie visuelle Hilfsmittel - betonen Sie das Vorher und Nachher</a:t>
            </a:r>
          </a:p>
          <a:p>
            <a:endParaRPr lang="en-IE" sz="2000" dirty="0"/>
          </a:p>
        </p:txBody>
      </p:sp>
      <p:sp>
        <p:nvSpPr>
          <p:cNvPr id="3" name="Text Placeholder 2">
            <a:extLst>
              <a:ext uri="{FF2B5EF4-FFF2-40B4-BE49-F238E27FC236}">
                <a16:creationId xmlns:a16="http://schemas.microsoft.com/office/drawing/2014/main" id="{274CEA54-BD05-70AF-EE8F-7756B20E1C7A}"/>
              </a:ext>
            </a:extLst>
          </p:cNvPr>
          <p:cNvSpPr>
            <a:spLocks noGrp="1"/>
          </p:cNvSpPr>
          <p:nvPr>
            <p:ph type="body" sz="quarter" idx="16"/>
          </p:nvPr>
        </p:nvSpPr>
        <p:spPr/>
        <p:txBody>
          <a:bodyPr/>
          <a:lstStyle/>
          <a:p>
            <a:r>
              <a:rPr lang="en-GB" b="1" dirty="0">
                <a:solidFill>
                  <a:srgbClr val="DE0A1D"/>
                </a:solidFill>
              </a:rPr>
              <a:t>Gewinnen Sie das Vertrauen Ihres Interessenten</a:t>
            </a:r>
            <a:endParaRPr lang="en-IE" b="1" dirty="0">
              <a:solidFill>
                <a:srgbClr val="DE0A1D"/>
              </a:solidFill>
            </a:endParaRPr>
          </a:p>
        </p:txBody>
      </p:sp>
    </p:spTree>
    <p:extLst>
      <p:ext uri="{BB962C8B-B14F-4D97-AF65-F5344CB8AC3E}">
        <p14:creationId xmlns:p14="http://schemas.microsoft.com/office/powerpoint/2010/main" val="23234280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Wie man mit Einwänden umgeht</a:t>
            </a:r>
          </a:p>
          <a:p>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8482104" y="1964864"/>
            <a:ext cx="916056" cy="769441"/>
          </a:xfrm>
          <a:prstGeom prst="rect">
            <a:avLst/>
          </a:prstGeom>
          <a:noFill/>
        </p:spPr>
        <p:txBody>
          <a:bodyPr wrap="square">
            <a:spAutoFit/>
          </a:bodyPr>
          <a:lstStyle/>
          <a:p>
            <a:pPr algn="ctr"/>
            <a:r>
              <a:rPr lang="en-US" sz="4400" dirty="0">
                <a:solidFill>
                  <a:schemeClr val="bg1"/>
                </a:solidFill>
              </a:rPr>
              <a:t>3</a:t>
            </a:r>
          </a:p>
        </p:txBody>
      </p: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622972" y="1964864"/>
            <a:ext cx="7849772"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solidFill>
                  <a:srgbClr val="595959"/>
                </a:solidFill>
                <a:latin typeface="Calibri" panose="020F0502020204030204"/>
              </a:rPr>
              <a:t>Nachdem Sie nun erfolgreich </a:t>
            </a:r>
            <a:r>
              <a:rPr lang="en-US" b="1" dirty="0">
                <a:solidFill>
                  <a:srgbClr val="DE0A1D"/>
                </a:solidFill>
                <a:latin typeface="Calibri" panose="020F0502020204030204"/>
              </a:rPr>
              <a:t>formuliert </a:t>
            </a:r>
            <a:r>
              <a:rPr lang="en-US" dirty="0">
                <a:solidFill>
                  <a:srgbClr val="595959"/>
                </a:solidFill>
                <a:latin typeface="Calibri" panose="020F0502020204030204"/>
              </a:rPr>
              <a:t>haben, was Sie verkaufen, und Ihrem potenziellen Kunden </a:t>
            </a:r>
            <a:r>
              <a:rPr lang="en-US" b="1" dirty="0">
                <a:solidFill>
                  <a:srgbClr val="DE0A1D"/>
                </a:solidFill>
                <a:latin typeface="Calibri" panose="020F0502020204030204"/>
              </a:rPr>
              <a:t>die Vorteile </a:t>
            </a:r>
            <a:r>
              <a:rPr lang="en-US" dirty="0">
                <a:solidFill>
                  <a:srgbClr val="595959"/>
                </a:solidFill>
                <a:latin typeface="Calibri" panose="020F0502020204030204"/>
              </a:rPr>
              <a:t>Ihres Produkts oder Ihrer Dienstleistung erläutert haben, müssen Sie darauf vorbereitet sein, </a:t>
            </a:r>
            <a:r>
              <a:rPr lang="en-US" b="1" dirty="0">
                <a:solidFill>
                  <a:srgbClr val="DE0A1D"/>
                </a:solidFill>
                <a:latin typeface="Calibri" panose="020F0502020204030204"/>
              </a:rPr>
              <a:t>Einwände zu behandeln</a:t>
            </a:r>
            <a:r>
              <a:rPr lang="en-US" dirty="0">
                <a:solidFill>
                  <a:srgbClr val="595959"/>
                </a:solidFill>
                <a:latin typeface="Calibri" panose="020F0502020204030204"/>
              </a:rPr>
              <a:t>, bevor Sie </a:t>
            </a:r>
            <a:r>
              <a:rPr lang="en-US" b="1" dirty="0">
                <a:solidFill>
                  <a:srgbClr val="DE0A1D"/>
                </a:solidFill>
                <a:latin typeface="Calibri" panose="020F0502020204030204"/>
              </a:rPr>
              <a:t>den Verkauf abschließen</a:t>
            </a:r>
            <a:r>
              <a:rPr lang="en-US" dirty="0">
                <a:solidFill>
                  <a:srgbClr val="595959"/>
                </a:solidFill>
                <a:latin typeface="Calibri" panose="020F0502020204030204"/>
              </a:rPr>
              <a:t>.</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9"/>
                </a:solidFill>
                <a:effectLst/>
                <a:uLnTx/>
                <a:uFillTx/>
                <a:latin typeface="Calibri" panose="020F0502020204030204"/>
                <a:ea typeface="+mn-ea"/>
                <a:cs typeface="+mn-cs"/>
              </a:rPr>
              <a:t>Sie müssen mit Widerstand umgehen können </a:t>
            </a:r>
            <a:r>
              <a:rPr lang="en-US" dirty="0">
                <a:solidFill>
                  <a:srgbClr val="595959"/>
                </a:solidFill>
                <a:latin typeface="Calibri" panose="020F0502020204030204"/>
              </a:rPr>
              <a:t>und auch mit der Bitte um den Verkauf.</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9"/>
                </a:solidFill>
                <a:effectLst/>
                <a:uLnTx/>
                <a:uFillTx/>
                <a:latin typeface="Calibri" panose="020F0502020204030204"/>
                <a:ea typeface="+mn-ea"/>
                <a:cs typeface="+mn-cs"/>
              </a:rPr>
              <a:t>Sie müssen die richtigen Techniken kennen - und wissen, wann Sie sie einsetzen sollten!</a:t>
            </a:r>
          </a:p>
        </p:txBody>
      </p:sp>
      <p:sp>
        <p:nvSpPr>
          <p:cNvPr id="5" name="TextBox 4">
            <a:extLst>
              <a:ext uri="{FF2B5EF4-FFF2-40B4-BE49-F238E27FC236}">
                <a16:creationId xmlns:a16="http://schemas.microsoft.com/office/drawing/2014/main" id="{703FC9D5-4D45-542C-7C8D-0C65D8BD9614}"/>
              </a:ext>
            </a:extLst>
          </p:cNvPr>
          <p:cNvSpPr txBox="1"/>
          <p:nvPr/>
        </p:nvSpPr>
        <p:spPr>
          <a:xfrm>
            <a:off x="8630820" y="1780198"/>
            <a:ext cx="632662" cy="369332"/>
          </a:xfrm>
          <a:prstGeom prst="rect">
            <a:avLst/>
          </a:prstGeom>
          <a:noFill/>
        </p:spPr>
        <p:txBody>
          <a:bodyPr wrap="square" rtlCol="0">
            <a:spAutoFit/>
          </a:bodyPr>
          <a:lstStyle/>
          <a:p>
            <a:r>
              <a:rPr lang="en-GB" dirty="0">
                <a:solidFill>
                  <a:schemeClr val="bg1"/>
                </a:solidFill>
              </a:rPr>
              <a:t>STEP</a:t>
            </a:r>
            <a:endParaRPr lang="en-IE" dirty="0">
              <a:solidFill>
                <a:schemeClr val="bg1"/>
              </a:solidFill>
            </a:endParaRPr>
          </a:p>
        </p:txBody>
      </p:sp>
    </p:spTree>
    <p:extLst>
      <p:ext uri="{BB962C8B-B14F-4D97-AF65-F5344CB8AC3E}">
        <p14:creationId xmlns:p14="http://schemas.microsoft.com/office/powerpoint/2010/main" val="21513679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Wie man mit Einwänden umgeht</a:t>
            </a:r>
          </a:p>
          <a:p>
            <a:endParaRPr lang="en-US" dirty="0"/>
          </a:p>
        </p:txBody>
      </p:sp>
      <p:sp>
        <p:nvSpPr>
          <p:cNvPr id="8" name="TextBox 7">
            <a:extLst>
              <a:ext uri="{FF2B5EF4-FFF2-40B4-BE49-F238E27FC236}">
                <a16:creationId xmlns:a16="http://schemas.microsoft.com/office/drawing/2014/main" id="{2BB58133-E930-3DFD-5B29-B40CA050D9B6}"/>
              </a:ext>
            </a:extLst>
          </p:cNvPr>
          <p:cNvSpPr txBox="1"/>
          <p:nvPr/>
        </p:nvSpPr>
        <p:spPr>
          <a:xfrm>
            <a:off x="616936" y="1828800"/>
            <a:ext cx="9963102" cy="2743508"/>
          </a:xfrm>
          <a:prstGeom prst="rect">
            <a:avLst/>
          </a:prstGeom>
          <a:noFill/>
        </p:spPr>
        <p:txBody>
          <a:bodyPr wrap="square">
            <a:spAutoFit/>
          </a:bodyPr>
          <a:lstStyle/>
          <a:p>
            <a:pPr marL="17463" lvl="1" algn="l"/>
            <a:r>
              <a:rPr lang="en-US" altLang="en-US" sz="2400" b="1" dirty="0">
                <a:solidFill>
                  <a:srgbClr val="DE0A1D"/>
                </a:solidFill>
              </a:rPr>
              <a:t>Hören Sie zu und unterbrechen Sie nicht</a:t>
            </a:r>
            <a:r>
              <a:rPr lang="is-IS" altLang="en-US" sz="2400" b="1" dirty="0">
                <a:solidFill>
                  <a:srgbClr val="D9552F"/>
                </a:solidFill>
              </a:rPr>
              <a:t>...</a:t>
            </a:r>
          </a:p>
          <a:p>
            <a:pPr marL="17463" lvl="1" algn="l"/>
            <a:endParaRPr lang="en-US" altLang="en-US" sz="800" b="1" i="1" dirty="0">
              <a:solidFill>
                <a:srgbClr val="EC2179"/>
              </a:solidFill>
            </a:endParaRPr>
          </a:p>
          <a:p>
            <a:pPr marL="360363" lvl="1" indent="-342900" algn="l">
              <a:lnSpc>
                <a:spcPct val="150000"/>
              </a:lnSpc>
              <a:buClr>
                <a:srgbClr val="DE0A1D"/>
              </a:buClr>
              <a:buFont typeface="Arial" charset="0"/>
              <a:buChar char="•"/>
            </a:pPr>
            <a:r>
              <a:rPr lang="en-US" altLang="en-US" sz="2400" dirty="0">
                <a:solidFill>
                  <a:srgbClr val="003841"/>
                </a:solidFill>
              </a:rPr>
              <a:t>Zustimmung und Gegenstimme (die Ja...aber-Technik)</a:t>
            </a:r>
          </a:p>
          <a:p>
            <a:pPr marL="360363" lvl="1" indent="-342900" algn="l">
              <a:lnSpc>
                <a:spcPct val="150000"/>
              </a:lnSpc>
              <a:buClr>
                <a:srgbClr val="DE0A1D"/>
              </a:buClr>
              <a:buFont typeface="Arial" charset="0"/>
              <a:buChar char="•"/>
            </a:pPr>
            <a:r>
              <a:rPr lang="en-US" altLang="en-US" sz="2400" dirty="0">
                <a:solidFill>
                  <a:srgbClr val="003841"/>
                </a:solidFill>
              </a:rPr>
              <a:t>Direkte Ablehnung - kann verwendet werden, wenn der Käufer nach sachlichen Informationen sucht</a:t>
            </a:r>
          </a:p>
          <a:p>
            <a:pPr marL="360363" lvl="1" indent="-342900" algn="l">
              <a:lnSpc>
                <a:spcPct val="150000"/>
              </a:lnSpc>
              <a:buClr>
                <a:srgbClr val="DE0A1D"/>
              </a:buClr>
              <a:buFont typeface="Arial" charset="0"/>
              <a:buChar char="•"/>
            </a:pPr>
            <a:r>
              <a:rPr lang="en-US" altLang="en-US" sz="2400" dirty="0">
                <a:solidFill>
                  <a:srgbClr val="003841"/>
                </a:solidFill>
              </a:rPr>
              <a:t>Hinterfragen Sie den Einwand - Käufer </a:t>
            </a:r>
            <a:r>
              <a:rPr lang="en-US" altLang="en-US" sz="2400" i="1" dirty="0">
                <a:solidFill>
                  <a:srgbClr val="003841"/>
                </a:solidFill>
              </a:rPr>
              <a:t>"Mir gefällt das Aussehen dieser Handtasche nicht". </a:t>
            </a:r>
            <a:r>
              <a:rPr lang="en-US" altLang="en-US" sz="2400" dirty="0">
                <a:solidFill>
                  <a:srgbClr val="003841"/>
                </a:solidFill>
              </a:rPr>
              <a:t>Verkäufer </a:t>
            </a:r>
            <a:r>
              <a:rPr lang="en-US" altLang="en-US" sz="2400" i="1" dirty="0">
                <a:solidFill>
                  <a:srgbClr val="003841"/>
                </a:solidFill>
              </a:rPr>
              <a:t>"Können Sie mir genau sagen, was Ihnen nicht gefällt?"</a:t>
            </a:r>
          </a:p>
        </p:txBody>
      </p:sp>
    </p:spTree>
    <p:extLst>
      <p:ext uri="{BB962C8B-B14F-4D97-AF65-F5344CB8AC3E}">
        <p14:creationId xmlns:p14="http://schemas.microsoft.com/office/powerpoint/2010/main" val="23479551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Techniken der Einwandbehandlung</a:t>
            </a:r>
            <a:endParaRPr lang="en-US" dirty="0"/>
          </a:p>
        </p:txBody>
      </p:sp>
      <p:sp>
        <p:nvSpPr>
          <p:cNvPr id="8" name="TextBox 7">
            <a:extLst>
              <a:ext uri="{FF2B5EF4-FFF2-40B4-BE49-F238E27FC236}">
                <a16:creationId xmlns:a16="http://schemas.microsoft.com/office/drawing/2014/main" id="{2BB58133-E930-3DFD-5B29-B40CA050D9B6}"/>
              </a:ext>
            </a:extLst>
          </p:cNvPr>
          <p:cNvSpPr txBox="1"/>
          <p:nvPr/>
        </p:nvSpPr>
        <p:spPr>
          <a:xfrm>
            <a:off x="1164483" y="4092468"/>
            <a:ext cx="1324007" cy="646331"/>
          </a:xfrm>
          <a:prstGeom prst="rect">
            <a:avLst/>
          </a:prstGeom>
          <a:noFill/>
        </p:spPr>
        <p:txBody>
          <a:bodyPr wrap="square">
            <a:spAutoFit/>
          </a:bodyPr>
          <a:lstStyle/>
          <a:p>
            <a:pPr marL="17463" lvl="1" algn="l"/>
            <a:r>
              <a:rPr lang="en-US" altLang="en-US" dirty="0">
                <a:solidFill>
                  <a:srgbClr val="47B5C8"/>
                </a:solidFill>
              </a:rPr>
              <a:t>PUSHBACK-TECHNIK</a:t>
            </a:r>
            <a:endParaRPr lang="is-IS" altLang="en-US" dirty="0">
              <a:solidFill>
                <a:srgbClr val="47B5C8"/>
              </a:solidFill>
            </a:endParaRPr>
          </a:p>
        </p:txBody>
      </p:sp>
      <p:cxnSp>
        <p:nvCxnSpPr>
          <p:cNvPr id="5" name="Straight Connector 4">
            <a:extLst>
              <a:ext uri="{FF2B5EF4-FFF2-40B4-BE49-F238E27FC236}">
                <a16:creationId xmlns:a16="http://schemas.microsoft.com/office/drawing/2014/main" id="{4407558B-CE70-4C34-0495-5FB713400527}"/>
              </a:ext>
            </a:extLst>
          </p:cNvPr>
          <p:cNvCxnSpPr>
            <a:cxnSpLocks/>
          </p:cNvCxnSpPr>
          <p:nvPr/>
        </p:nvCxnSpPr>
        <p:spPr>
          <a:xfrm>
            <a:off x="381286" y="3429000"/>
            <a:ext cx="10660525"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51C01154-BAF5-429D-CCFD-593AFE52A0D5}"/>
              </a:ext>
            </a:extLst>
          </p:cNvPr>
          <p:cNvSpPr/>
          <p:nvPr/>
        </p:nvSpPr>
        <p:spPr>
          <a:xfrm>
            <a:off x="1330806" y="2734576"/>
            <a:ext cx="1127722" cy="1119596"/>
          </a:xfrm>
          <a:prstGeom prst="ellipse">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3" name="Oval 12">
            <a:extLst>
              <a:ext uri="{FF2B5EF4-FFF2-40B4-BE49-F238E27FC236}">
                <a16:creationId xmlns:a16="http://schemas.microsoft.com/office/drawing/2014/main" id="{AF70BB4C-F533-C805-8E41-7C60E5F92B8F}"/>
              </a:ext>
            </a:extLst>
          </p:cNvPr>
          <p:cNvSpPr/>
          <p:nvPr/>
        </p:nvSpPr>
        <p:spPr>
          <a:xfrm>
            <a:off x="3679529" y="2734576"/>
            <a:ext cx="1127721" cy="1119596"/>
          </a:xfrm>
          <a:prstGeom prst="ellipse">
            <a:avLst/>
          </a:pr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5" name="Oval 14">
            <a:extLst>
              <a:ext uri="{FF2B5EF4-FFF2-40B4-BE49-F238E27FC236}">
                <a16:creationId xmlns:a16="http://schemas.microsoft.com/office/drawing/2014/main" id="{8CA0C4C8-E2AE-F870-A921-B3E4B6A54B44}"/>
              </a:ext>
            </a:extLst>
          </p:cNvPr>
          <p:cNvSpPr/>
          <p:nvPr/>
        </p:nvSpPr>
        <p:spPr>
          <a:xfrm>
            <a:off x="6096000" y="2671315"/>
            <a:ext cx="1127722" cy="1119596"/>
          </a:xfrm>
          <a:prstGeom prst="ellipse">
            <a:avLst/>
          </a:pr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6" name="Oval 15">
            <a:extLst>
              <a:ext uri="{FF2B5EF4-FFF2-40B4-BE49-F238E27FC236}">
                <a16:creationId xmlns:a16="http://schemas.microsoft.com/office/drawing/2014/main" id="{29CE3B80-CE16-CCE4-08B1-4BCA7AB39393}"/>
              </a:ext>
            </a:extLst>
          </p:cNvPr>
          <p:cNvSpPr/>
          <p:nvPr/>
        </p:nvSpPr>
        <p:spPr>
          <a:xfrm>
            <a:off x="8444723" y="2671315"/>
            <a:ext cx="1127722" cy="111959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nvGrpSpPr>
          <p:cNvPr id="17" name="Google Shape;822;p39">
            <a:extLst>
              <a:ext uri="{FF2B5EF4-FFF2-40B4-BE49-F238E27FC236}">
                <a16:creationId xmlns:a16="http://schemas.microsoft.com/office/drawing/2014/main" id="{96F5FB1B-8494-897E-8E59-A2CE7F0F5876}"/>
              </a:ext>
            </a:extLst>
          </p:cNvPr>
          <p:cNvGrpSpPr/>
          <p:nvPr/>
        </p:nvGrpSpPr>
        <p:grpSpPr>
          <a:xfrm>
            <a:off x="1527940" y="3138559"/>
            <a:ext cx="733453" cy="446316"/>
            <a:chOff x="3269900" y="3064500"/>
            <a:chExt cx="432325" cy="263075"/>
          </a:xfrm>
        </p:grpSpPr>
        <p:sp>
          <p:nvSpPr>
            <p:cNvPr id="18" name="Google Shape;823;p39">
              <a:extLst>
                <a:ext uri="{FF2B5EF4-FFF2-40B4-BE49-F238E27FC236}">
                  <a16:creationId xmlns:a16="http://schemas.microsoft.com/office/drawing/2014/main" id="{C0928E59-ADF4-C563-A3E4-477B935C505B}"/>
                </a:ext>
              </a:extLst>
            </p:cNvPr>
            <p:cNvSpPr/>
            <p:nvPr/>
          </p:nvSpPr>
          <p:spPr>
            <a:xfrm>
              <a:off x="3269900" y="3064500"/>
              <a:ext cx="432325" cy="263075"/>
            </a:xfrm>
            <a:custGeom>
              <a:avLst/>
              <a:gdLst/>
              <a:ahLst/>
              <a:cxnLst/>
              <a:rect l="l" t="t" r="r" b="b"/>
              <a:pathLst>
                <a:path w="17293" h="10523" fill="none" extrusionOk="0">
                  <a:moveTo>
                    <a:pt x="14711" y="7916"/>
                  </a:moveTo>
                  <a:lnTo>
                    <a:pt x="14711" y="7916"/>
                  </a:lnTo>
                  <a:lnTo>
                    <a:pt x="14151" y="8379"/>
                  </a:lnTo>
                  <a:lnTo>
                    <a:pt x="13493" y="8842"/>
                  </a:lnTo>
                  <a:lnTo>
                    <a:pt x="12811" y="9280"/>
                  </a:lnTo>
                  <a:lnTo>
                    <a:pt x="12446" y="9475"/>
                  </a:lnTo>
                  <a:lnTo>
                    <a:pt x="12056" y="9670"/>
                  </a:lnTo>
                  <a:lnTo>
                    <a:pt x="11667" y="9840"/>
                  </a:lnTo>
                  <a:lnTo>
                    <a:pt x="11253" y="10011"/>
                  </a:lnTo>
                  <a:lnTo>
                    <a:pt x="10839" y="10157"/>
                  </a:lnTo>
                  <a:lnTo>
                    <a:pt x="10425" y="10278"/>
                  </a:lnTo>
                  <a:lnTo>
                    <a:pt x="9986" y="10376"/>
                  </a:lnTo>
                  <a:lnTo>
                    <a:pt x="9548" y="10449"/>
                  </a:lnTo>
                  <a:lnTo>
                    <a:pt x="9109" y="10498"/>
                  </a:lnTo>
                  <a:lnTo>
                    <a:pt x="8647" y="10522"/>
                  </a:lnTo>
                  <a:lnTo>
                    <a:pt x="8647" y="10522"/>
                  </a:lnTo>
                  <a:lnTo>
                    <a:pt x="8233" y="10522"/>
                  </a:lnTo>
                  <a:lnTo>
                    <a:pt x="7843" y="10473"/>
                  </a:lnTo>
                  <a:lnTo>
                    <a:pt x="7453" y="10425"/>
                  </a:lnTo>
                  <a:lnTo>
                    <a:pt x="7064" y="10327"/>
                  </a:lnTo>
                  <a:lnTo>
                    <a:pt x="6674" y="10230"/>
                  </a:lnTo>
                  <a:lnTo>
                    <a:pt x="6284" y="10108"/>
                  </a:lnTo>
                  <a:lnTo>
                    <a:pt x="5919" y="9986"/>
                  </a:lnTo>
                  <a:lnTo>
                    <a:pt x="5554" y="9840"/>
                  </a:lnTo>
                  <a:lnTo>
                    <a:pt x="5213" y="9670"/>
                  </a:lnTo>
                  <a:lnTo>
                    <a:pt x="4847" y="9499"/>
                  </a:lnTo>
                  <a:lnTo>
                    <a:pt x="4190" y="9109"/>
                  </a:lnTo>
                  <a:lnTo>
                    <a:pt x="3557" y="8695"/>
                  </a:lnTo>
                  <a:lnTo>
                    <a:pt x="2972" y="8233"/>
                  </a:lnTo>
                  <a:lnTo>
                    <a:pt x="2412" y="7794"/>
                  </a:lnTo>
                  <a:lnTo>
                    <a:pt x="1900" y="7332"/>
                  </a:lnTo>
                  <a:lnTo>
                    <a:pt x="1438" y="6893"/>
                  </a:lnTo>
                  <a:lnTo>
                    <a:pt x="1048" y="6479"/>
                  </a:lnTo>
                  <a:lnTo>
                    <a:pt x="390" y="5748"/>
                  </a:lnTo>
                  <a:lnTo>
                    <a:pt x="1" y="5261"/>
                  </a:lnTo>
                  <a:lnTo>
                    <a:pt x="1" y="5261"/>
                  </a:lnTo>
                  <a:lnTo>
                    <a:pt x="390" y="4774"/>
                  </a:lnTo>
                  <a:lnTo>
                    <a:pt x="1048" y="4044"/>
                  </a:lnTo>
                  <a:lnTo>
                    <a:pt x="1438" y="3630"/>
                  </a:lnTo>
                  <a:lnTo>
                    <a:pt x="1900" y="3191"/>
                  </a:lnTo>
                  <a:lnTo>
                    <a:pt x="2412" y="2728"/>
                  </a:lnTo>
                  <a:lnTo>
                    <a:pt x="2972" y="2290"/>
                  </a:lnTo>
                  <a:lnTo>
                    <a:pt x="3557" y="1852"/>
                  </a:lnTo>
                  <a:lnTo>
                    <a:pt x="4190" y="1413"/>
                  </a:lnTo>
                  <a:lnTo>
                    <a:pt x="4847" y="1024"/>
                  </a:lnTo>
                  <a:lnTo>
                    <a:pt x="5213" y="853"/>
                  </a:lnTo>
                  <a:lnTo>
                    <a:pt x="5554" y="683"/>
                  </a:lnTo>
                  <a:lnTo>
                    <a:pt x="5919" y="536"/>
                  </a:lnTo>
                  <a:lnTo>
                    <a:pt x="6284" y="415"/>
                  </a:lnTo>
                  <a:lnTo>
                    <a:pt x="6674" y="293"/>
                  </a:lnTo>
                  <a:lnTo>
                    <a:pt x="7064" y="196"/>
                  </a:lnTo>
                  <a:lnTo>
                    <a:pt x="7453" y="98"/>
                  </a:lnTo>
                  <a:lnTo>
                    <a:pt x="7843" y="49"/>
                  </a:lnTo>
                  <a:lnTo>
                    <a:pt x="8233" y="1"/>
                  </a:lnTo>
                  <a:lnTo>
                    <a:pt x="8647" y="1"/>
                  </a:lnTo>
                  <a:lnTo>
                    <a:pt x="8647" y="1"/>
                  </a:lnTo>
                  <a:lnTo>
                    <a:pt x="9109" y="25"/>
                  </a:lnTo>
                  <a:lnTo>
                    <a:pt x="9548" y="74"/>
                  </a:lnTo>
                  <a:lnTo>
                    <a:pt x="9986" y="147"/>
                  </a:lnTo>
                  <a:lnTo>
                    <a:pt x="10425" y="244"/>
                  </a:lnTo>
                  <a:lnTo>
                    <a:pt x="10839" y="366"/>
                  </a:lnTo>
                  <a:lnTo>
                    <a:pt x="11253" y="512"/>
                  </a:lnTo>
                  <a:lnTo>
                    <a:pt x="11667" y="683"/>
                  </a:lnTo>
                  <a:lnTo>
                    <a:pt x="12056" y="853"/>
                  </a:lnTo>
                  <a:lnTo>
                    <a:pt x="12446" y="1048"/>
                  </a:lnTo>
                  <a:lnTo>
                    <a:pt x="12811" y="1243"/>
                  </a:lnTo>
                  <a:lnTo>
                    <a:pt x="13493" y="1681"/>
                  </a:lnTo>
                  <a:lnTo>
                    <a:pt x="14151" y="2144"/>
                  </a:lnTo>
                  <a:lnTo>
                    <a:pt x="14711" y="2607"/>
                  </a:lnTo>
                  <a:lnTo>
                    <a:pt x="14711" y="2607"/>
                  </a:lnTo>
                  <a:lnTo>
                    <a:pt x="15198" y="3021"/>
                  </a:lnTo>
                  <a:lnTo>
                    <a:pt x="15637" y="3435"/>
                  </a:lnTo>
                  <a:lnTo>
                    <a:pt x="16026" y="3824"/>
                  </a:lnTo>
                  <a:lnTo>
                    <a:pt x="16367" y="4190"/>
                  </a:lnTo>
                  <a:lnTo>
                    <a:pt x="16927" y="4823"/>
                  </a:lnTo>
                  <a:lnTo>
                    <a:pt x="17293" y="5261"/>
                  </a:lnTo>
                  <a:lnTo>
                    <a:pt x="17293" y="5261"/>
                  </a:lnTo>
                  <a:lnTo>
                    <a:pt x="16927" y="5700"/>
                  </a:lnTo>
                  <a:lnTo>
                    <a:pt x="16367" y="6333"/>
                  </a:lnTo>
                  <a:lnTo>
                    <a:pt x="16026" y="6698"/>
                  </a:lnTo>
                  <a:lnTo>
                    <a:pt x="15637" y="7088"/>
                  </a:lnTo>
                  <a:lnTo>
                    <a:pt x="15198" y="7502"/>
                  </a:lnTo>
                  <a:lnTo>
                    <a:pt x="14711" y="7916"/>
                  </a:lnTo>
                  <a:lnTo>
                    <a:pt x="14711" y="7916"/>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824;p39">
              <a:extLst>
                <a:ext uri="{FF2B5EF4-FFF2-40B4-BE49-F238E27FC236}">
                  <a16:creationId xmlns:a16="http://schemas.microsoft.com/office/drawing/2014/main" id="{8F41F588-BDDB-3582-C707-527ED725CE04}"/>
                </a:ext>
              </a:extLst>
            </p:cNvPr>
            <p:cNvSpPr/>
            <p:nvPr/>
          </p:nvSpPr>
          <p:spPr>
            <a:xfrm>
              <a:off x="3445875" y="3155825"/>
              <a:ext cx="80400" cy="80400"/>
            </a:xfrm>
            <a:custGeom>
              <a:avLst/>
              <a:gdLst/>
              <a:ahLst/>
              <a:cxnLst/>
              <a:rect l="l" t="t" r="r" b="b"/>
              <a:pathLst>
                <a:path w="3216" h="3216" fill="none" extrusionOk="0">
                  <a:moveTo>
                    <a:pt x="0" y="1608"/>
                  </a:moveTo>
                  <a:lnTo>
                    <a:pt x="0" y="1608"/>
                  </a:lnTo>
                  <a:lnTo>
                    <a:pt x="25" y="1438"/>
                  </a:lnTo>
                  <a:lnTo>
                    <a:pt x="49" y="1292"/>
                  </a:lnTo>
                  <a:lnTo>
                    <a:pt x="73" y="1121"/>
                  </a:lnTo>
                  <a:lnTo>
                    <a:pt x="146" y="975"/>
                  </a:lnTo>
                  <a:lnTo>
                    <a:pt x="195" y="853"/>
                  </a:lnTo>
                  <a:lnTo>
                    <a:pt x="293" y="707"/>
                  </a:lnTo>
                  <a:lnTo>
                    <a:pt x="366" y="585"/>
                  </a:lnTo>
                  <a:lnTo>
                    <a:pt x="487" y="488"/>
                  </a:lnTo>
                  <a:lnTo>
                    <a:pt x="585" y="366"/>
                  </a:lnTo>
                  <a:lnTo>
                    <a:pt x="707" y="293"/>
                  </a:lnTo>
                  <a:lnTo>
                    <a:pt x="853" y="196"/>
                  </a:lnTo>
                  <a:lnTo>
                    <a:pt x="974" y="147"/>
                  </a:lnTo>
                  <a:lnTo>
                    <a:pt x="1121" y="74"/>
                  </a:lnTo>
                  <a:lnTo>
                    <a:pt x="1291" y="50"/>
                  </a:lnTo>
                  <a:lnTo>
                    <a:pt x="1437" y="25"/>
                  </a:lnTo>
                  <a:lnTo>
                    <a:pt x="1608" y="1"/>
                  </a:lnTo>
                  <a:lnTo>
                    <a:pt x="1608" y="1"/>
                  </a:lnTo>
                  <a:lnTo>
                    <a:pt x="1778" y="25"/>
                  </a:lnTo>
                  <a:lnTo>
                    <a:pt x="1924" y="50"/>
                  </a:lnTo>
                  <a:lnTo>
                    <a:pt x="2095" y="74"/>
                  </a:lnTo>
                  <a:lnTo>
                    <a:pt x="2241" y="147"/>
                  </a:lnTo>
                  <a:lnTo>
                    <a:pt x="2363" y="196"/>
                  </a:lnTo>
                  <a:lnTo>
                    <a:pt x="2509" y="293"/>
                  </a:lnTo>
                  <a:lnTo>
                    <a:pt x="2631" y="366"/>
                  </a:lnTo>
                  <a:lnTo>
                    <a:pt x="2728" y="488"/>
                  </a:lnTo>
                  <a:lnTo>
                    <a:pt x="2850" y="585"/>
                  </a:lnTo>
                  <a:lnTo>
                    <a:pt x="2923" y="707"/>
                  </a:lnTo>
                  <a:lnTo>
                    <a:pt x="3020" y="853"/>
                  </a:lnTo>
                  <a:lnTo>
                    <a:pt x="3069" y="975"/>
                  </a:lnTo>
                  <a:lnTo>
                    <a:pt x="3142" y="1121"/>
                  </a:lnTo>
                  <a:lnTo>
                    <a:pt x="3166" y="1292"/>
                  </a:lnTo>
                  <a:lnTo>
                    <a:pt x="3191" y="1438"/>
                  </a:lnTo>
                  <a:lnTo>
                    <a:pt x="3215" y="1608"/>
                  </a:lnTo>
                  <a:lnTo>
                    <a:pt x="3215" y="1608"/>
                  </a:lnTo>
                  <a:lnTo>
                    <a:pt x="3191" y="1779"/>
                  </a:lnTo>
                  <a:lnTo>
                    <a:pt x="3166" y="1925"/>
                  </a:lnTo>
                  <a:lnTo>
                    <a:pt x="3142" y="2095"/>
                  </a:lnTo>
                  <a:lnTo>
                    <a:pt x="3069" y="2242"/>
                  </a:lnTo>
                  <a:lnTo>
                    <a:pt x="3020" y="2363"/>
                  </a:lnTo>
                  <a:lnTo>
                    <a:pt x="2923" y="2509"/>
                  </a:lnTo>
                  <a:lnTo>
                    <a:pt x="2850" y="2631"/>
                  </a:lnTo>
                  <a:lnTo>
                    <a:pt x="2728" y="2729"/>
                  </a:lnTo>
                  <a:lnTo>
                    <a:pt x="2631" y="2850"/>
                  </a:lnTo>
                  <a:lnTo>
                    <a:pt x="2509" y="2924"/>
                  </a:lnTo>
                  <a:lnTo>
                    <a:pt x="2363" y="3021"/>
                  </a:lnTo>
                  <a:lnTo>
                    <a:pt x="2241" y="3070"/>
                  </a:lnTo>
                  <a:lnTo>
                    <a:pt x="2095" y="3143"/>
                  </a:lnTo>
                  <a:lnTo>
                    <a:pt x="1924" y="3167"/>
                  </a:lnTo>
                  <a:lnTo>
                    <a:pt x="1778" y="3191"/>
                  </a:lnTo>
                  <a:lnTo>
                    <a:pt x="1608" y="3216"/>
                  </a:lnTo>
                  <a:lnTo>
                    <a:pt x="1608" y="3216"/>
                  </a:lnTo>
                  <a:lnTo>
                    <a:pt x="1437" y="3191"/>
                  </a:lnTo>
                  <a:lnTo>
                    <a:pt x="1291" y="3167"/>
                  </a:lnTo>
                  <a:lnTo>
                    <a:pt x="1121" y="3143"/>
                  </a:lnTo>
                  <a:lnTo>
                    <a:pt x="974" y="3070"/>
                  </a:lnTo>
                  <a:lnTo>
                    <a:pt x="853" y="3021"/>
                  </a:lnTo>
                  <a:lnTo>
                    <a:pt x="707" y="2924"/>
                  </a:lnTo>
                  <a:lnTo>
                    <a:pt x="585" y="2850"/>
                  </a:lnTo>
                  <a:lnTo>
                    <a:pt x="487" y="2729"/>
                  </a:lnTo>
                  <a:lnTo>
                    <a:pt x="366" y="2631"/>
                  </a:lnTo>
                  <a:lnTo>
                    <a:pt x="293" y="2509"/>
                  </a:lnTo>
                  <a:lnTo>
                    <a:pt x="195" y="2363"/>
                  </a:lnTo>
                  <a:lnTo>
                    <a:pt x="146" y="2242"/>
                  </a:lnTo>
                  <a:lnTo>
                    <a:pt x="73" y="2095"/>
                  </a:lnTo>
                  <a:lnTo>
                    <a:pt x="49" y="1925"/>
                  </a:lnTo>
                  <a:lnTo>
                    <a:pt x="25" y="1779"/>
                  </a:lnTo>
                  <a:lnTo>
                    <a:pt x="0" y="1608"/>
                  </a:lnTo>
                  <a:lnTo>
                    <a:pt x="0" y="1608"/>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825;p39">
              <a:extLst>
                <a:ext uri="{FF2B5EF4-FFF2-40B4-BE49-F238E27FC236}">
                  <a16:creationId xmlns:a16="http://schemas.microsoft.com/office/drawing/2014/main" id="{8205EE5A-5A21-1D56-DA4C-6356285C42A8}"/>
                </a:ext>
              </a:extLst>
            </p:cNvPr>
            <p:cNvSpPr/>
            <p:nvPr/>
          </p:nvSpPr>
          <p:spPr>
            <a:xfrm>
              <a:off x="3381925" y="3091900"/>
              <a:ext cx="208275" cy="208275"/>
            </a:xfrm>
            <a:custGeom>
              <a:avLst/>
              <a:gdLst/>
              <a:ahLst/>
              <a:cxnLst/>
              <a:rect l="l" t="t" r="r" b="b"/>
              <a:pathLst>
                <a:path w="8331" h="8331" fill="none" extrusionOk="0">
                  <a:moveTo>
                    <a:pt x="1" y="4165"/>
                  </a:moveTo>
                  <a:lnTo>
                    <a:pt x="1" y="4165"/>
                  </a:lnTo>
                  <a:lnTo>
                    <a:pt x="25" y="3751"/>
                  </a:lnTo>
                  <a:lnTo>
                    <a:pt x="74" y="3337"/>
                  </a:lnTo>
                  <a:lnTo>
                    <a:pt x="196" y="2923"/>
                  </a:lnTo>
                  <a:lnTo>
                    <a:pt x="318" y="2534"/>
                  </a:lnTo>
                  <a:lnTo>
                    <a:pt x="512" y="2168"/>
                  </a:lnTo>
                  <a:lnTo>
                    <a:pt x="707" y="1827"/>
                  </a:lnTo>
                  <a:lnTo>
                    <a:pt x="951" y="1511"/>
                  </a:lnTo>
                  <a:lnTo>
                    <a:pt x="1219" y="1218"/>
                  </a:lnTo>
                  <a:lnTo>
                    <a:pt x="1511" y="951"/>
                  </a:lnTo>
                  <a:lnTo>
                    <a:pt x="1828" y="707"/>
                  </a:lnTo>
                  <a:lnTo>
                    <a:pt x="2169" y="512"/>
                  </a:lnTo>
                  <a:lnTo>
                    <a:pt x="2534" y="317"/>
                  </a:lnTo>
                  <a:lnTo>
                    <a:pt x="2924" y="195"/>
                  </a:lnTo>
                  <a:lnTo>
                    <a:pt x="3313" y="74"/>
                  </a:lnTo>
                  <a:lnTo>
                    <a:pt x="3727" y="25"/>
                  </a:lnTo>
                  <a:lnTo>
                    <a:pt x="4166" y="1"/>
                  </a:lnTo>
                  <a:lnTo>
                    <a:pt x="4166" y="1"/>
                  </a:lnTo>
                  <a:lnTo>
                    <a:pt x="4580" y="25"/>
                  </a:lnTo>
                  <a:lnTo>
                    <a:pt x="4994" y="74"/>
                  </a:lnTo>
                  <a:lnTo>
                    <a:pt x="5408" y="195"/>
                  </a:lnTo>
                  <a:lnTo>
                    <a:pt x="5797" y="317"/>
                  </a:lnTo>
                  <a:lnTo>
                    <a:pt x="6163" y="512"/>
                  </a:lnTo>
                  <a:lnTo>
                    <a:pt x="6504" y="707"/>
                  </a:lnTo>
                  <a:lnTo>
                    <a:pt x="6820" y="951"/>
                  </a:lnTo>
                  <a:lnTo>
                    <a:pt x="7113" y="1218"/>
                  </a:lnTo>
                  <a:lnTo>
                    <a:pt x="7381" y="1511"/>
                  </a:lnTo>
                  <a:lnTo>
                    <a:pt x="7624" y="1827"/>
                  </a:lnTo>
                  <a:lnTo>
                    <a:pt x="7819" y="2168"/>
                  </a:lnTo>
                  <a:lnTo>
                    <a:pt x="8014" y="2534"/>
                  </a:lnTo>
                  <a:lnTo>
                    <a:pt x="8136" y="2923"/>
                  </a:lnTo>
                  <a:lnTo>
                    <a:pt x="8257" y="3337"/>
                  </a:lnTo>
                  <a:lnTo>
                    <a:pt x="8306" y="3751"/>
                  </a:lnTo>
                  <a:lnTo>
                    <a:pt x="8330" y="4165"/>
                  </a:lnTo>
                  <a:lnTo>
                    <a:pt x="8330" y="4165"/>
                  </a:lnTo>
                  <a:lnTo>
                    <a:pt x="8306" y="4579"/>
                  </a:lnTo>
                  <a:lnTo>
                    <a:pt x="8257" y="4993"/>
                  </a:lnTo>
                  <a:lnTo>
                    <a:pt x="8136" y="5407"/>
                  </a:lnTo>
                  <a:lnTo>
                    <a:pt x="8014" y="5797"/>
                  </a:lnTo>
                  <a:lnTo>
                    <a:pt x="7819" y="6162"/>
                  </a:lnTo>
                  <a:lnTo>
                    <a:pt x="7624" y="6503"/>
                  </a:lnTo>
                  <a:lnTo>
                    <a:pt x="7381" y="6820"/>
                  </a:lnTo>
                  <a:lnTo>
                    <a:pt x="7113" y="7112"/>
                  </a:lnTo>
                  <a:lnTo>
                    <a:pt x="6820" y="7380"/>
                  </a:lnTo>
                  <a:lnTo>
                    <a:pt x="6504" y="7624"/>
                  </a:lnTo>
                  <a:lnTo>
                    <a:pt x="6163" y="7819"/>
                  </a:lnTo>
                  <a:lnTo>
                    <a:pt x="5797" y="8013"/>
                  </a:lnTo>
                  <a:lnTo>
                    <a:pt x="5408" y="8135"/>
                  </a:lnTo>
                  <a:lnTo>
                    <a:pt x="4994" y="8257"/>
                  </a:lnTo>
                  <a:lnTo>
                    <a:pt x="4580" y="8306"/>
                  </a:lnTo>
                  <a:lnTo>
                    <a:pt x="4166" y="8330"/>
                  </a:lnTo>
                  <a:lnTo>
                    <a:pt x="4166" y="8330"/>
                  </a:lnTo>
                  <a:lnTo>
                    <a:pt x="3727" y="8306"/>
                  </a:lnTo>
                  <a:lnTo>
                    <a:pt x="3313" y="8257"/>
                  </a:lnTo>
                  <a:lnTo>
                    <a:pt x="2924" y="8135"/>
                  </a:lnTo>
                  <a:lnTo>
                    <a:pt x="2534" y="8013"/>
                  </a:lnTo>
                  <a:lnTo>
                    <a:pt x="2169" y="7819"/>
                  </a:lnTo>
                  <a:lnTo>
                    <a:pt x="1828" y="7624"/>
                  </a:lnTo>
                  <a:lnTo>
                    <a:pt x="1511" y="7380"/>
                  </a:lnTo>
                  <a:lnTo>
                    <a:pt x="1219" y="7112"/>
                  </a:lnTo>
                  <a:lnTo>
                    <a:pt x="951" y="6820"/>
                  </a:lnTo>
                  <a:lnTo>
                    <a:pt x="707" y="6503"/>
                  </a:lnTo>
                  <a:lnTo>
                    <a:pt x="512" y="6162"/>
                  </a:lnTo>
                  <a:lnTo>
                    <a:pt x="318" y="5797"/>
                  </a:lnTo>
                  <a:lnTo>
                    <a:pt x="196" y="5407"/>
                  </a:lnTo>
                  <a:lnTo>
                    <a:pt x="74" y="4993"/>
                  </a:lnTo>
                  <a:lnTo>
                    <a:pt x="25" y="4579"/>
                  </a:lnTo>
                  <a:lnTo>
                    <a:pt x="1" y="4165"/>
                  </a:lnTo>
                  <a:lnTo>
                    <a:pt x="1" y="4165"/>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530;p39">
            <a:extLst>
              <a:ext uri="{FF2B5EF4-FFF2-40B4-BE49-F238E27FC236}">
                <a16:creationId xmlns:a16="http://schemas.microsoft.com/office/drawing/2014/main" id="{7A3C977A-AE9B-029A-17F4-E66A605B3750}"/>
              </a:ext>
            </a:extLst>
          </p:cNvPr>
          <p:cNvSpPr/>
          <p:nvPr/>
        </p:nvSpPr>
        <p:spPr>
          <a:xfrm>
            <a:off x="3940893" y="2990999"/>
            <a:ext cx="604991" cy="604991"/>
          </a:xfrm>
          <a:custGeom>
            <a:avLst/>
            <a:gdLst/>
            <a:ahLst/>
            <a:cxnLst/>
            <a:rect l="l" t="t" r="r" b="b"/>
            <a:pathLst>
              <a:path w="16027" h="16027" fill="none" extrusionOk="0">
                <a:moveTo>
                  <a:pt x="14029" y="4019"/>
                </a:moveTo>
                <a:lnTo>
                  <a:pt x="14029" y="4019"/>
                </a:lnTo>
                <a:lnTo>
                  <a:pt x="14200" y="3849"/>
                </a:lnTo>
                <a:lnTo>
                  <a:pt x="14395" y="3752"/>
                </a:lnTo>
                <a:lnTo>
                  <a:pt x="14614" y="3678"/>
                </a:lnTo>
                <a:lnTo>
                  <a:pt x="14809" y="3630"/>
                </a:lnTo>
                <a:lnTo>
                  <a:pt x="15028" y="3581"/>
                </a:lnTo>
                <a:lnTo>
                  <a:pt x="15247" y="3484"/>
                </a:lnTo>
                <a:lnTo>
                  <a:pt x="15442" y="3362"/>
                </a:lnTo>
                <a:lnTo>
                  <a:pt x="15661" y="3191"/>
                </a:lnTo>
                <a:lnTo>
                  <a:pt x="15661" y="3191"/>
                </a:lnTo>
                <a:lnTo>
                  <a:pt x="15832" y="2997"/>
                </a:lnTo>
                <a:lnTo>
                  <a:pt x="15929" y="2777"/>
                </a:lnTo>
                <a:lnTo>
                  <a:pt x="16002" y="2534"/>
                </a:lnTo>
                <a:lnTo>
                  <a:pt x="16026" y="2266"/>
                </a:lnTo>
                <a:lnTo>
                  <a:pt x="16026" y="2266"/>
                </a:lnTo>
                <a:lnTo>
                  <a:pt x="16002" y="2047"/>
                </a:lnTo>
                <a:lnTo>
                  <a:pt x="15978" y="1827"/>
                </a:lnTo>
                <a:lnTo>
                  <a:pt x="15905" y="1633"/>
                </a:lnTo>
                <a:lnTo>
                  <a:pt x="15807" y="1413"/>
                </a:lnTo>
                <a:lnTo>
                  <a:pt x="15710" y="1243"/>
                </a:lnTo>
                <a:lnTo>
                  <a:pt x="15588" y="1048"/>
                </a:lnTo>
                <a:lnTo>
                  <a:pt x="15466" y="878"/>
                </a:lnTo>
                <a:lnTo>
                  <a:pt x="15320" y="707"/>
                </a:lnTo>
                <a:lnTo>
                  <a:pt x="15320" y="707"/>
                </a:lnTo>
                <a:lnTo>
                  <a:pt x="15150" y="561"/>
                </a:lnTo>
                <a:lnTo>
                  <a:pt x="14979" y="439"/>
                </a:lnTo>
                <a:lnTo>
                  <a:pt x="14784" y="317"/>
                </a:lnTo>
                <a:lnTo>
                  <a:pt x="14590" y="196"/>
                </a:lnTo>
                <a:lnTo>
                  <a:pt x="14395" y="123"/>
                </a:lnTo>
                <a:lnTo>
                  <a:pt x="14175" y="50"/>
                </a:lnTo>
                <a:lnTo>
                  <a:pt x="13981" y="25"/>
                </a:lnTo>
                <a:lnTo>
                  <a:pt x="13761" y="1"/>
                </a:lnTo>
                <a:lnTo>
                  <a:pt x="13761" y="1"/>
                </a:lnTo>
                <a:lnTo>
                  <a:pt x="13494" y="25"/>
                </a:lnTo>
                <a:lnTo>
                  <a:pt x="13250" y="98"/>
                </a:lnTo>
                <a:lnTo>
                  <a:pt x="13031" y="196"/>
                </a:lnTo>
                <a:lnTo>
                  <a:pt x="12836" y="366"/>
                </a:lnTo>
                <a:lnTo>
                  <a:pt x="12836" y="366"/>
                </a:lnTo>
                <a:lnTo>
                  <a:pt x="12665" y="561"/>
                </a:lnTo>
                <a:lnTo>
                  <a:pt x="12544" y="780"/>
                </a:lnTo>
                <a:lnTo>
                  <a:pt x="12471" y="975"/>
                </a:lnTo>
                <a:lnTo>
                  <a:pt x="12422" y="1194"/>
                </a:lnTo>
                <a:lnTo>
                  <a:pt x="12349" y="1413"/>
                </a:lnTo>
                <a:lnTo>
                  <a:pt x="12276" y="1608"/>
                </a:lnTo>
                <a:lnTo>
                  <a:pt x="12178" y="1827"/>
                </a:lnTo>
                <a:lnTo>
                  <a:pt x="12008" y="1998"/>
                </a:lnTo>
                <a:lnTo>
                  <a:pt x="12008" y="1998"/>
                </a:lnTo>
                <a:lnTo>
                  <a:pt x="11740" y="2266"/>
                </a:lnTo>
                <a:lnTo>
                  <a:pt x="11496" y="2436"/>
                </a:lnTo>
                <a:lnTo>
                  <a:pt x="11277" y="2534"/>
                </a:lnTo>
                <a:lnTo>
                  <a:pt x="11082" y="2582"/>
                </a:lnTo>
                <a:lnTo>
                  <a:pt x="10888" y="2582"/>
                </a:lnTo>
                <a:lnTo>
                  <a:pt x="10717" y="2534"/>
                </a:lnTo>
                <a:lnTo>
                  <a:pt x="10547" y="2412"/>
                </a:lnTo>
                <a:lnTo>
                  <a:pt x="10376" y="2290"/>
                </a:lnTo>
                <a:lnTo>
                  <a:pt x="10206" y="2095"/>
                </a:lnTo>
                <a:lnTo>
                  <a:pt x="10035" y="1901"/>
                </a:lnTo>
                <a:lnTo>
                  <a:pt x="9670" y="1413"/>
                </a:lnTo>
                <a:lnTo>
                  <a:pt x="9231" y="878"/>
                </a:lnTo>
                <a:lnTo>
                  <a:pt x="8988" y="585"/>
                </a:lnTo>
                <a:lnTo>
                  <a:pt x="8720" y="293"/>
                </a:lnTo>
                <a:lnTo>
                  <a:pt x="8720" y="293"/>
                </a:lnTo>
                <a:lnTo>
                  <a:pt x="8574" y="171"/>
                </a:lnTo>
                <a:lnTo>
                  <a:pt x="8379" y="74"/>
                </a:lnTo>
                <a:lnTo>
                  <a:pt x="8209" y="25"/>
                </a:lnTo>
                <a:lnTo>
                  <a:pt x="8014" y="1"/>
                </a:lnTo>
                <a:lnTo>
                  <a:pt x="8014" y="1"/>
                </a:lnTo>
                <a:lnTo>
                  <a:pt x="7916" y="25"/>
                </a:lnTo>
                <a:lnTo>
                  <a:pt x="7770" y="98"/>
                </a:lnTo>
                <a:lnTo>
                  <a:pt x="7307" y="366"/>
                </a:lnTo>
                <a:lnTo>
                  <a:pt x="7039" y="537"/>
                </a:lnTo>
                <a:lnTo>
                  <a:pt x="6747" y="756"/>
                </a:lnTo>
                <a:lnTo>
                  <a:pt x="6431" y="975"/>
                </a:lnTo>
                <a:lnTo>
                  <a:pt x="6138" y="1243"/>
                </a:lnTo>
                <a:lnTo>
                  <a:pt x="5870" y="1511"/>
                </a:lnTo>
                <a:lnTo>
                  <a:pt x="5627" y="1803"/>
                </a:lnTo>
                <a:lnTo>
                  <a:pt x="5432" y="2095"/>
                </a:lnTo>
                <a:lnTo>
                  <a:pt x="5359" y="2242"/>
                </a:lnTo>
                <a:lnTo>
                  <a:pt x="5310" y="2412"/>
                </a:lnTo>
                <a:lnTo>
                  <a:pt x="5262" y="2558"/>
                </a:lnTo>
                <a:lnTo>
                  <a:pt x="5237" y="2704"/>
                </a:lnTo>
                <a:lnTo>
                  <a:pt x="5237" y="2850"/>
                </a:lnTo>
                <a:lnTo>
                  <a:pt x="5262" y="3021"/>
                </a:lnTo>
                <a:lnTo>
                  <a:pt x="5310" y="3167"/>
                </a:lnTo>
                <a:lnTo>
                  <a:pt x="5383" y="3313"/>
                </a:lnTo>
                <a:lnTo>
                  <a:pt x="5481" y="3459"/>
                </a:lnTo>
                <a:lnTo>
                  <a:pt x="5603" y="3605"/>
                </a:lnTo>
                <a:lnTo>
                  <a:pt x="5603" y="3605"/>
                </a:lnTo>
                <a:lnTo>
                  <a:pt x="5797" y="3752"/>
                </a:lnTo>
                <a:lnTo>
                  <a:pt x="5992" y="3849"/>
                </a:lnTo>
                <a:lnTo>
                  <a:pt x="6187" y="3946"/>
                </a:lnTo>
                <a:lnTo>
                  <a:pt x="6406" y="3995"/>
                </a:lnTo>
                <a:lnTo>
                  <a:pt x="6625" y="4044"/>
                </a:lnTo>
                <a:lnTo>
                  <a:pt x="6845" y="4141"/>
                </a:lnTo>
                <a:lnTo>
                  <a:pt x="7039" y="4239"/>
                </a:lnTo>
                <a:lnTo>
                  <a:pt x="7234" y="4409"/>
                </a:lnTo>
                <a:lnTo>
                  <a:pt x="7234" y="4409"/>
                </a:lnTo>
                <a:lnTo>
                  <a:pt x="7405" y="4604"/>
                </a:lnTo>
                <a:lnTo>
                  <a:pt x="7502" y="4823"/>
                </a:lnTo>
                <a:lnTo>
                  <a:pt x="7575" y="5067"/>
                </a:lnTo>
                <a:lnTo>
                  <a:pt x="7600" y="5359"/>
                </a:lnTo>
                <a:lnTo>
                  <a:pt x="7600" y="5359"/>
                </a:lnTo>
                <a:lnTo>
                  <a:pt x="7575" y="5554"/>
                </a:lnTo>
                <a:lnTo>
                  <a:pt x="7551" y="5773"/>
                </a:lnTo>
                <a:lnTo>
                  <a:pt x="7478" y="5968"/>
                </a:lnTo>
                <a:lnTo>
                  <a:pt x="7405" y="6163"/>
                </a:lnTo>
                <a:lnTo>
                  <a:pt x="7307" y="6357"/>
                </a:lnTo>
                <a:lnTo>
                  <a:pt x="7186" y="6552"/>
                </a:lnTo>
                <a:lnTo>
                  <a:pt x="7039" y="6723"/>
                </a:lnTo>
                <a:lnTo>
                  <a:pt x="6893" y="6893"/>
                </a:lnTo>
                <a:lnTo>
                  <a:pt x="6893" y="6893"/>
                </a:lnTo>
                <a:lnTo>
                  <a:pt x="6723" y="7039"/>
                </a:lnTo>
                <a:lnTo>
                  <a:pt x="6552" y="7186"/>
                </a:lnTo>
                <a:lnTo>
                  <a:pt x="6382" y="7283"/>
                </a:lnTo>
                <a:lnTo>
                  <a:pt x="6187" y="7405"/>
                </a:lnTo>
                <a:lnTo>
                  <a:pt x="5992" y="7478"/>
                </a:lnTo>
                <a:lnTo>
                  <a:pt x="5773" y="7551"/>
                </a:lnTo>
                <a:lnTo>
                  <a:pt x="5554" y="7575"/>
                </a:lnTo>
                <a:lnTo>
                  <a:pt x="5359" y="7600"/>
                </a:lnTo>
                <a:lnTo>
                  <a:pt x="5359" y="7600"/>
                </a:lnTo>
                <a:lnTo>
                  <a:pt x="5091" y="7575"/>
                </a:lnTo>
                <a:lnTo>
                  <a:pt x="4848" y="7502"/>
                </a:lnTo>
                <a:lnTo>
                  <a:pt x="4604" y="7405"/>
                </a:lnTo>
                <a:lnTo>
                  <a:pt x="4409" y="7234"/>
                </a:lnTo>
                <a:lnTo>
                  <a:pt x="4409" y="7234"/>
                </a:lnTo>
                <a:lnTo>
                  <a:pt x="4239" y="7039"/>
                </a:lnTo>
                <a:lnTo>
                  <a:pt x="4117" y="6820"/>
                </a:lnTo>
                <a:lnTo>
                  <a:pt x="4044" y="6601"/>
                </a:lnTo>
                <a:lnTo>
                  <a:pt x="3971" y="6382"/>
                </a:lnTo>
                <a:lnTo>
                  <a:pt x="3922" y="6187"/>
                </a:lnTo>
                <a:lnTo>
                  <a:pt x="3849" y="5992"/>
                </a:lnTo>
                <a:lnTo>
                  <a:pt x="3752" y="5797"/>
                </a:lnTo>
                <a:lnTo>
                  <a:pt x="3605" y="5602"/>
                </a:lnTo>
                <a:lnTo>
                  <a:pt x="3605" y="5602"/>
                </a:lnTo>
                <a:lnTo>
                  <a:pt x="3459" y="5481"/>
                </a:lnTo>
                <a:lnTo>
                  <a:pt x="3313" y="5383"/>
                </a:lnTo>
                <a:lnTo>
                  <a:pt x="3167" y="5310"/>
                </a:lnTo>
                <a:lnTo>
                  <a:pt x="3021" y="5262"/>
                </a:lnTo>
                <a:lnTo>
                  <a:pt x="2850" y="5237"/>
                </a:lnTo>
                <a:lnTo>
                  <a:pt x="2704" y="5237"/>
                </a:lnTo>
                <a:lnTo>
                  <a:pt x="2558" y="5262"/>
                </a:lnTo>
                <a:lnTo>
                  <a:pt x="2412" y="5310"/>
                </a:lnTo>
                <a:lnTo>
                  <a:pt x="2242" y="5359"/>
                </a:lnTo>
                <a:lnTo>
                  <a:pt x="2095" y="5432"/>
                </a:lnTo>
                <a:lnTo>
                  <a:pt x="1803" y="5627"/>
                </a:lnTo>
                <a:lnTo>
                  <a:pt x="1511" y="5870"/>
                </a:lnTo>
                <a:lnTo>
                  <a:pt x="1243" y="6138"/>
                </a:lnTo>
                <a:lnTo>
                  <a:pt x="975" y="6431"/>
                </a:lnTo>
                <a:lnTo>
                  <a:pt x="756" y="6747"/>
                </a:lnTo>
                <a:lnTo>
                  <a:pt x="537" y="7039"/>
                </a:lnTo>
                <a:lnTo>
                  <a:pt x="366" y="7307"/>
                </a:lnTo>
                <a:lnTo>
                  <a:pt x="98" y="7770"/>
                </a:lnTo>
                <a:lnTo>
                  <a:pt x="25" y="7916"/>
                </a:lnTo>
                <a:lnTo>
                  <a:pt x="1" y="8014"/>
                </a:lnTo>
                <a:lnTo>
                  <a:pt x="1" y="8014"/>
                </a:lnTo>
                <a:lnTo>
                  <a:pt x="25" y="8208"/>
                </a:lnTo>
                <a:lnTo>
                  <a:pt x="74" y="8379"/>
                </a:lnTo>
                <a:lnTo>
                  <a:pt x="171" y="8574"/>
                </a:lnTo>
                <a:lnTo>
                  <a:pt x="293" y="8720"/>
                </a:lnTo>
                <a:lnTo>
                  <a:pt x="293" y="8720"/>
                </a:lnTo>
                <a:lnTo>
                  <a:pt x="585" y="8988"/>
                </a:lnTo>
                <a:lnTo>
                  <a:pt x="878" y="9231"/>
                </a:lnTo>
                <a:lnTo>
                  <a:pt x="1413" y="9670"/>
                </a:lnTo>
                <a:lnTo>
                  <a:pt x="1901" y="10035"/>
                </a:lnTo>
                <a:lnTo>
                  <a:pt x="2095" y="10206"/>
                </a:lnTo>
                <a:lnTo>
                  <a:pt x="2290" y="10376"/>
                </a:lnTo>
                <a:lnTo>
                  <a:pt x="2412" y="10547"/>
                </a:lnTo>
                <a:lnTo>
                  <a:pt x="2534" y="10717"/>
                </a:lnTo>
                <a:lnTo>
                  <a:pt x="2583" y="10888"/>
                </a:lnTo>
                <a:lnTo>
                  <a:pt x="2583" y="11082"/>
                </a:lnTo>
                <a:lnTo>
                  <a:pt x="2534" y="11277"/>
                </a:lnTo>
                <a:lnTo>
                  <a:pt x="2436" y="11496"/>
                </a:lnTo>
                <a:lnTo>
                  <a:pt x="2266" y="11740"/>
                </a:lnTo>
                <a:lnTo>
                  <a:pt x="1998" y="12008"/>
                </a:lnTo>
                <a:lnTo>
                  <a:pt x="1998" y="12008"/>
                </a:lnTo>
                <a:lnTo>
                  <a:pt x="1828" y="12178"/>
                </a:lnTo>
                <a:lnTo>
                  <a:pt x="1633" y="12276"/>
                </a:lnTo>
                <a:lnTo>
                  <a:pt x="1413" y="12349"/>
                </a:lnTo>
                <a:lnTo>
                  <a:pt x="1219" y="12398"/>
                </a:lnTo>
                <a:lnTo>
                  <a:pt x="999" y="12446"/>
                </a:lnTo>
                <a:lnTo>
                  <a:pt x="780" y="12544"/>
                </a:lnTo>
                <a:lnTo>
                  <a:pt x="585" y="12665"/>
                </a:lnTo>
                <a:lnTo>
                  <a:pt x="366" y="12836"/>
                </a:lnTo>
                <a:lnTo>
                  <a:pt x="366" y="12836"/>
                </a:lnTo>
                <a:lnTo>
                  <a:pt x="196" y="13031"/>
                </a:lnTo>
                <a:lnTo>
                  <a:pt x="98" y="13250"/>
                </a:lnTo>
                <a:lnTo>
                  <a:pt x="25" y="13493"/>
                </a:lnTo>
                <a:lnTo>
                  <a:pt x="1" y="13761"/>
                </a:lnTo>
                <a:lnTo>
                  <a:pt x="1" y="13761"/>
                </a:lnTo>
                <a:lnTo>
                  <a:pt x="25" y="13981"/>
                </a:lnTo>
                <a:lnTo>
                  <a:pt x="50" y="14200"/>
                </a:lnTo>
                <a:lnTo>
                  <a:pt x="123" y="14395"/>
                </a:lnTo>
                <a:lnTo>
                  <a:pt x="220" y="14614"/>
                </a:lnTo>
                <a:lnTo>
                  <a:pt x="318" y="14784"/>
                </a:lnTo>
                <a:lnTo>
                  <a:pt x="439" y="14979"/>
                </a:lnTo>
                <a:lnTo>
                  <a:pt x="561" y="15150"/>
                </a:lnTo>
                <a:lnTo>
                  <a:pt x="707" y="15320"/>
                </a:lnTo>
                <a:lnTo>
                  <a:pt x="707" y="15320"/>
                </a:lnTo>
                <a:lnTo>
                  <a:pt x="878" y="15466"/>
                </a:lnTo>
                <a:lnTo>
                  <a:pt x="1048" y="15588"/>
                </a:lnTo>
                <a:lnTo>
                  <a:pt x="1243" y="15710"/>
                </a:lnTo>
                <a:lnTo>
                  <a:pt x="1438" y="15832"/>
                </a:lnTo>
                <a:lnTo>
                  <a:pt x="1633" y="15905"/>
                </a:lnTo>
                <a:lnTo>
                  <a:pt x="1852" y="15978"/>
                </a:lnTo>
                <a:lnTo>
                  <a:pt x="2047" y="16002"/>
                </a:lnTo>
                <a:lnTo>
                  <a:pt x="2266" y="16026"/>
                </a:lnTo>
                <a:lnTo>
                  <a:pt x="2266" y="16026"/>
                </a:lnTo>
                <a:lnTo>
                  <a:pt x="2534" y="16002"/>
                </a:lnTo>
                <a:lnTo>
                  <a:pt x="2777" y="15929"/>
                </a:lnTo>
                <a:lnTo>
                  <a:pt x="2997" y="15832"/>
                </a:lnTo>
                <a:lnTo>
                  <a:pt x="3191" y="15661"/>
                </a:lnTo>
                <a:lnTo>
                  <a:pt x="3191" y="15661"/>
                </a:lnTo>
                <a:lnTo>
                  <a:pt x="3362" y="15466"/>
                </a:lnTo>
                <a:lnTo>
                  <a:pt x="3484" y="15247"/>
                </a:lnTo>
                <a:lnTo>
                  <a:pt x="3557" y="15052"/>
                </a:lnTo>
                <a:lnTo>
                  <a:pt x="3605" y="14833"/>
                </a:lnTo>
                <a:lnTo>
                  <a:pt x="3679" y="14614"/>
                </a:lnTo>
                <a:lnTo>
                  <a:pt x="3752" y="14419"/>
                </a:lnTo>
                <a:lnTo>
                  <a:pt x="3849" y="14200"/>
                </a:lnTo>
                <a:lnTo>
                  <a:pt x="4019" y="14029"/>
                </a:lnTo>
                <a:lnTo>
                  <a:pt x="4019" y="14029"/>
                </a:lnTo>
                <a:lnTo>
                  <a:pt x="4287" y="13786"/>
                </a:lnTo>
                <a:lnTo>
                  <a:pt x="4531" y="13591"/>
                </a:lnTo>
                <a:lnTo>
                  <a:pt x="4750" y="13493"/>
                </a:lnTo>
                <a:lnTo>
                  <a:pt x="4945" y="13445"/>
                </a:lnTo>
                <a:lnTo>
                  <a:pt x="5140" y="13445"/>
                </a:lnTo>
                <a:lnTo>
                  <a:pt x="5310" y="13493"/>
                </a:lnTo>
                <a:lnTo>
                  <a:pt x="5481" y="13615"/>
                </a:lnTo>
                <a:lnTo>
                  <a:pt x="5651" y="13737"/>
                </a:lnTo>
                <a:lnTo>
                  <a:pt x="5822" y="13932"/>
                </a:lnTo>
                <a:lnTo>
                  <a:pt x="5992" y="14127"/>
                </a:lnTo>
                <a:lnTo>
                  <a:pt x="6358" y="14614"/>
                </a:lnTo>
                <a:lnTo>
                  <a:pt x="6796" y="15150"/>
                </a:lnTo>
                <a:lnTo>
                  <a:pt x="7039" y="15442"/>
                </a:lnTo>
                <a:lnTo>
                  <a:pt x="7307" y="15734"/>
                </a:lnTo>
                <a:lnTo>
                  <a:pt x="7307" y="15734"/>
                </a:lnTo>
                <a:lnTo>
                  <a:pt x="7454" y="15856"/>
                </a:lnTo>
                <a:lnTo>
                  <a:pt x="7648" y="15953"/>
                </a:lnTo>
                <a:lnTo>
                  <a:pt x="7819" y="16002"/>
                </a:lnTo>
                <a:lnTo>
                  <a:pt x="8014" y="16026"/>
                </a:lnTo>
                <a:lnTo>
                  <a:pt x="8014" y="16026"/>
                </a:lnTo>
                <a:lnTo>
                  <a:pt x="8111" y="16002"/>
                </a:lnTo>
                <a:lnTo>
                  <a:pt x="8257" y="15929"/>
                </a:lnTo>
                <a:lnTo>
                  <a:pt x="8720" y="15661"/>
                </a:lnTo>
                <a:lnTo>
                  <a:pt x="8988" y="15491"/>
                </a:lnTo>
                <a:lnTo>
                  <a:pt x="9280" y="15271"/>
                </a:lnTo>
                <a:lnTo>
                  <a:pt x="9597" y="15052"/>
                </a:lnTo>
                <a:lnTo>
                  <a:pt x="9889" y="14784"/>
                </a:lnTo>
                <a:lnTo>
                  <a:pt x="10157" y="14516"/>
                </a:lnTo>
                <a:lnTo>
                  <a:pt x="10400" y="14224"/>
                </a:lnTo>
                <a:lnTo>
                  <a:pt x="10595" y="13932"/>
                </a:lnTo>
                <a:lnTo>
                  <a:pt x="10668" y="13786"/>
                </a:lnTo>
                <a:lnTo>
                  <a:pt x="10717" y="13615"/>
                </a:lnTo>
                <a:lnTo>
                  <a:pt x="10766" y="13469"/>
                </a:lnTo>
                <a:lnTo>
                  <a:pt x="10790" y="13323"/>
                </a:lnTo>
                <a:lnTo>
                  <a:pt x="10790" y="13177"/>
                </a:lnTo>
                <a:lnTo>
                  <a:pt x="10766" y="13006"/>
                </a:lnTo>
                <a:lnTo>
                  <a:pt x="10717" y="12860"/>
                </a:lnTo>
                <a:lnTo>
                  <a:pt x="10644" y="12714"/>
                </a:lnTo>
                <a:lnTo>
                  <a:pt x="10547" y="12568"/>
                </a:lnTo>
                <a:lnTo>
                  <a:pt x="10425" y="12422"/>
                </a:lnTo>
                <a:lnTo>
                  <a:pt x="10425" y="12422"/>
                </a:lnTo>
                <a:lnTo>
                  <a:pt x="10230" y="12276"/>
                </a:lnTo>
                <a:lnTo>
                  <a:pt x="10035" y="12178"/>
                </a:lnTo>
                <a:lnTo>
                  <a:pt x="9840" y="12105"/>
                </a:lnTo>
                <a:lnTo>
                  <a:pt x="9621" y="12032"/>
                </a:lnTo>
                <a:lnTo>
                  <a:pt x="9402" y="11983"/>
                </a:lnTo>
                <a:lnTo>
                  <a:pt x="9183" y="11886"/>
                </a:lnTo>
                <a:lnTo>
                  <a:pt x="8988" y="11789"/>
                </a:lnTo>
                <a:lnTo>
                  <a:pt x="8793" y="11618"/>
                </a:lnTo>
                <a:lnTo>
                  <a:pt x="8793" y="11618"/>
                </a:lnTo>
                <a:lnTo>
                  <a:pt x="8623" y="11423"/>
                </a:lnTo>
                <a:lnTo>
                  <a:pt x="8525" y="11204"/>
                </a:lnTo>
                <a:lnTo>
                  <a:pt x="8452" y="10961"/>
                </a:lnTo>
                <a:lnTo>
                  <a:pt x="8428" y="10668"/>
                </a:lnTo>
                <a:lnTo>
                  <a:pt x="8428" y="10668"/>
                </a:lnTo>
                <a:lnTo>
                  <a:pt x="8452" y="10473"/>
                </a:lnTo>
                <a:lnTo>
                  <a:pt x="8476" y="10254"/>
                </a:lnTo>
                <a:lnTo>
                  <a:pt x="8549" y="10059"/>
                </a:lnTo>
                <a:lnTo>
                  <a:pt x="8623" y="9865"/>
                </a:lnTo>
                <a:lnTo>
                  <a:pt x="8720" y="9670"/>
                </a:lnTo>
                <a:lnTo>
                  <a:pt x="8842" y="9475"/>
                </a:lnTo>
                <a:lnTo>
                  <a:pt x="8988" y="9304"/>
                </a:lnTo>
                <a:lnTo>
                  <a:pt x="9134" y="9134"/>
                </a:lnTo>
                <a:lnTo>
                  <a:pt x="9134" y="9134"/>
                </a:lnTo>
                <a:lnTo>
                  <a:pt x="9304" y="8988"/>
                </a:lnTo>
                <a:lnTo>
                  <a:pt x="9475" y="8866"/>
                </a:lnTo>
                <a:lnTo>
                  <a:pt x="9645" y="8744"/>
                </a:lnTo>
                <a:lnTo>
                  <a:pt x="9840" y="8622"/>
                </a:lnTo>
                <a:lnTo>
                  <a:pt x="10035" y="8549"/>
                </a:lnTo>
                <a:lnTo>
                  <a:pt x="10254" y="8476"/>
                </a:lnTo>
                <a:lnTo>
                  <a:pt x="10474" y="8452"/>
                </a:lnTo>
                <a:lnTo>
                  <a:pt x="10668" y="8428"/>
                </a:lnTo>
                <a:lnTo>
                  <a:pt x="10668" y="8428"/>
                </a:lnTo>
                <a:lnTo>
                  <a:pt x="10936" y="8452"/>
                </a:lnTo>
                <a:lnTo>
                  <a:pt x="11180" y="8525"/>
                </a:lnTo>
                <a:lnTo>
                  <a:pt x="11423" y="8622"/>
                </a:lnTo>
                <a:lnTo>
                  <a:pt x="11618" y="8793"/>
                </a:lnTo>
                <a:lnTo>
                  <a:pt x="11618" y="8793"/>
                </a:lnTo>
                <a:lnTo>
                  <a:pt x="11789" y="8988"/>
                </a:lnTo>
                <a:lnTo>
                  <a:pt x="11910" y="9207"/>
                </a:lnTo>
                <a:lnTo>
                  <a:pt x="11984" y="9426"/>
                </a:lnTo>
                <a:lnTo>
                  <a:pt x="12057" y="9645"/>
                </a:lnTo>
                <a:lnTo>
                  <a:pt x="12105" y="9840"/>
                </a:lnTo>
                <a:lnTo>
                  <a:pt x="12178" y="10035"/>
                </a:lnTo>
                <a:lnTo>
                  <a:pt x="12276" y="10230"/>
                </a:lnTo>
                <a:lnTo>
                  <a:pt x="12422" y="10425"/>
                </a:lnTo>
                <a:lnTo>
                  <a:pt x="12422" y="10425"/>
                </a:lnTo>
                <a:lnTo>
                  <a:pt x="12568" y="10547"/>
                </a:lnTo>
                <a:lnTo>
                  <a:pt x="12714" y="10644"/>
                </a:lnTo>
                <a:lnTo>
                  <a:pt x="12860" y="10717"/>
                </a:lnTo>
                <a:lnTo>
                  <a:pt x="13006" y="10766"/>
                </a:lnTo>
                <a:lnTo>
                  <a:pt x="13177" y="10790"/>
                </a:lnTo>
                <a:lnTo>
                  <a:pt x="13323" y="10790"/>
                </a:lnTo>
                <a:lnTo>
                  <a:pt x="13469" y="10766"/>
                </a:lnTo>
                <a:lnTo>
                  <a:pt x="13615" y="10717"/>
                </a:lnTo>
                <a:lnTo>
                  <a:pt x="13786" y="10668"/>
                </a:lnTo>
                <a:lnTo>
                  <a:pt x="13932" y="10595"/>
                </a:lnTo>
                <a:lnTo>
                  <a:pt x="14224" y="10400"/>
                </a:lnTo>
                <a:lnTo>
                  <a:pt x="14516" y="10157"/>
                </a:lnTo>
                <a:lnTo>
                  <a:pt x="14784" y="9889"/>
                </a:lnTo>
                <a:lnTo>
                  <a:pt x="15052" y="9597"/>
                </a:lnTo>
                <a:lnTo>
                  <a:pt x="15271" y="9280"/>
                </a:lnTo>
                <a:lnTo>
                  <a:pt x="15491" y="8988"/>
                </a:lnTo>
                <a:lnTo>
                  <a:pt x="15661" y="8720"/>
                </a:lnTo>
                <a:lnTo>
                  <a:pt x="15929" y="8257"/>
                </a:lnTo>
                <a:lnTo>
                  <a:pt x="16002" y="8111"/>
                </a:lnTo>
                <a:lnTo>
                  <a:pt x="16026" y="8014"/>
                </a:lnTo>
                <a:lnTo>
                  <a:pt x="16026" y="8014"/>
                </a:lnTo>
                <a:lnTo>
                  <a:pt x="16002" y="7819"/>
                </a:lnTo>
                <a:lnTo>
                  <a:pt x="15953" y="7648"/>
                </a:lnTo>
                <a:lnTo>
                  <a:pt x="15856" y="7453"/>
                </a:lnTo>
                <a:lnTo>
                  <a:pt x="15734" y="7307"/>
                </a:lnTo>
                <a:lnTo>
                  <a:pt x="15734" y="7307"/>
                </a:lnTo>
                <a:lnTo>
                  <a:pt x="15442" y="7039"/>
                </a:lnTo>
                <a:lnTo>
                  <a:pt x="15150" y="6796"/>
                </a:lnTo>
                <a:lnTo>
                  <a:pt x="14614" y="6357"/>
                </a:lnTo>
                <a:lnTo>
                  <a:pt x="14127" y="5992"/>
                </a:lnTo>
                <a:lnTo>
                  <a:pt x="13932" y="5822"/>
                </a:lnTo>
                <a:lnTo>
                  <a:pt x="13737" y="5651"/>
                </a:lnTo>
                <a:lnTo>
                  <a:pt x="13615" y="5481"/>
                </a:lnTo>
                <a:lnTo>
                  <a:pt x="13494" y="5310"/>
                </a:lnTo>
                <a:lnTo>
                  <a:pt x="13445" y="5140"/>
                </a:lnTo>
                <a:lnTo>
                  <a:pt x="13445" y="4945"/>
                </a:lnTo>
                <a:lnTo>
                  <a:pt x="13494" y="4750"/>
                </a:lnTo>
                <a:lnTo>
                  <a:pt x="13591" y="4531"/>
                </a:lnTo>
                <a:lnTo>
                  <a:pt x="13761" y="4287"/>
                </a:lnTo>
                <a:lnTo>
                  <a:pt x="14029" y="4019"/>
                </a:lnTo>
                <a:lnTo>
                  <a:pt x="14029" y="4019"/>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612;p39">
            <a:extLst>
              <a:ext uri="{FF2B5EF4-FFF2-40B4-BE49-F238E27FC236}">
                <a16:creationId xmlns:a16="http://schemas.microsoft.com/office/drawing/2014/main" id="{91895FB1-9BDE-00E8-B017-AE2023777EE0}"/>
              </a:ext>
            </a:extLst>
          </p:cNvPr>
          <p:cNvGrpSpPr/>
          <p:nvPr/>
        </p:nvGrpSpPr>
        <p:grpSpPr>
          <a:xfrm>
            <a:off x="6383633" y="2929050"/>
            <a:ext cx="591724" cy="604125"/>
            <a:chOff x="3951850" y="2985350"/>
            <a:chExt cx="407950" cy="416500"/>
          </a:xfrm>
        </p:grpSpPr>
        <p:sp>
          <p:nvSpPr>
            <p:cNvPr id="23" name="Google Shape;613;p39">
              <a:extLst>
                <a:ext uri="{FF2B5EF4-FFF2-40B4-BE49-F238E27FC236}">
                  <a16:creationId xmlns:a16="http://schemas.microsoft.com/office/drawing/2014/main" id="{787E9B25-A92F-5107-8F3D-FCC740B77631}"/>
                </a:ext>
              </a:extLst>
            </p:cNvPr>
            <p:cNvSpPr/>
            <p:nvPr/>
          </p:nvSpPr>
          <p:spPr>
            <a:xfrm>
              <a:off x="3951850" y="2985350"/>
              <a:ext cx="314800" cy="314825"/>
            </a:xfrm>
            <a:custGeom>
              <a:avLst/>
              <a:gdLst/>
              <a:ahLst/>
              <a:cxnLst/>
              <a:rect l="l" t="t" r="r" b="b"/>
              <a:pathLst>
                <a:path w="12592" h="12593" fill="none" extrusionOk="0">
                  <a:moveTo>
                    <a:pt x="6284" y="1"/>
                  </a:moveTo>
                  <a:lnTo>
                    <a:pt x="6284" y="1"/>
                  </a:lnTo>
                  <a:lnTo>
                    <a:pt x="5967" y="25"/>
                  </a:lnTo>
                  <a:lnTo>
                    <a:pt x="5651" y="49"/>
                  </a:lnTo>
                  <a:lnTo>
                    <a:pt x="5334" y="74"/>
                  </a:lnTo>
                  <a:lnTo>
                    <a:pt x="5017" y="147"/>
                  </a:lnTo>
                  <a:lnTo>
                    <a:pt x="4725" y="220"/>
                  </a:lnTo>
                  <a:lnTo>
                    <a:pt x="4433" y="293"/>
                  </a:lnTo>
                  <a:lnTo>
                    <a:pt x="4141" y="390"/>
                  </a:lnTo>
                  <a:lnTo>
                    <a:pt x="3848" y="512"/>
                  </a:lnTo>
                  <a:lnTo>
                    <a:pt x="3556" y="634"/>
                  </a:lnTo>
                  <a:lnTo>
                    <a:pt x="3288" y="780"/>
                  </a:lnTo>
                  <a:lnTo>
                    <a:pt x="3020" y="926"/>
                  </a:lnTo>
                  <a:lnTo>
                    <a:pt x="2777" y="1072"/>
                  </a:lnTo>
                  <a:lnTo>
                    <a:pt x="2290" y="1437"/>
                  </a:lnTo>
                  <a:lnTo>
                    <a:pt x="1851" y="1852"/>
                  </a:lnTo>
                  <a:lnTo>
                    <a:pt x="1437" y="2290"/>
                  </a:lnTo>
                  <a:lnTo>
                    <a:pt x="1072" y="2777"/>
                  </a:lnTo>
                  <a:lnTo>
                    <a:pt x="901" y="3045"/>
                  </a:lnTo>
                  <a:lnTo>
                    <a:pt x="755" y="3313"/>
                  </a:lnTo>
                  <a:lnTo>
                    <a:pt x="609" y="3581"/>
                  </a:lnTo>
                  <a:lnTo>
                    <a:pt x="487" y="3849"/>
                  </a:lnTo>
                  <a:lnTo>
                    <a:pt x="390" y="4141"/>
                  </a:lnTo>
                  <a:lnTo>
                    <a:pt x="292" y="4433"/>
                  </a:lnTo>
                  <a:lnTo>
                    <a:pt x="195" y="4725"/>
                  </a:lnTo>
                  <a:lnTo>
                    <a:pt x="122" y="5042"/>
                  </a:lnTo>
                  <a:lnTo>
                    <a:pt x="73" y="5334"/>
                  </a:lnTo>
                  <a:lnTo>
                    <a:pt x="25" y="5651"/>
                  </a:lnTo>
                  <a:lnTo>
                    <a:pt x="0" y="5968"/>
                  </a:lnTo>
                  <a:lnTo>
                    <a:pt x="0" y="6308"/>
                  </a:lnTo>
                  <a:lnTo>
                    <a:pt x="0" y="6308"/>
                  </a:lnTo>
                  <a:lnTo>
                    <a:pt x="0" y="6625"/>
                  </a:lnTo>
                  <a:lnTo>
                    <a:pt x="25" y="6942"/>
                  </a:lnTo>
                  <a:lnTo>
                    <a:pt x="73" y="7258"/>
                  </a:lnTo>
                  <a:lnTo>
                    <a:pt x="122" y="7575"/>
                  </a:lnTo>
                  <a:lnTo>
                    <a:pt x="195" y="7867"/>
                  </a:lnTo>
                  <a:lnTo>
                    <a:pt x="292" y="8184"/>
                  </a:lnTo>
                  <a:lnTo>
                    <a:pt x="390" y="8476"/>
                  </a:lnTo>
                  <a:lnTo>
                    <a:pt x="487" y="8744"/>
                  </a:lnTo>
                  <a:lnTo>
                    <a:pt x="609" y="9036"/>
                  </a:lnTo>
                  <a:lnTo>
                    <a:pt x="755" y="9304"/>
                  </a:lnTo>
                  <a:lnTo>
                    <a:pt x="901" y="9572"/>
                  </a:lnTo>
                  <a:lnTo>
                    <a:pt x="1072" y="9816"/>
                  </a:lnTo>
                  <a:lnTo>
                    <a:pt x="1437" y="10303"/>
                  </a:lnTo>
                  <a:lnTo>
                    <a:pt x="1851" y="10741"/>
                  </a:lnTo>
                  <a:lnTo>
                    <a:pt x="2290" y="11155"/>
                  </a:lnTo>
                  <a:lnTo>
                    <a:pt x="2777" y="11520"/>
                  </a:lnTo>
                  <a:lnTo>
                    <a:pt x="3020" y="11691"/>
                  </a:lnTo>
                  <a:lnTo>
                    <a:pt x="3288" y="11837"/>
                  </a:lnTo>
                  <a:lnTo>
                    <a:pt x="3556" y="11983"/>
                  </a:lnTo>
                  <a:lnTo>
                    <a:pt x="3848" y="12105"/>
                  </a:lnTo>
                  <a:lnTo>
                    <a:pt x="4141" y="12202"/>
                  </a:lnTo>
                  <a:lnTo>
                    <a:pt x="4433" y="12300"/>
                  </a:lnTo>
                  <a:lnTo>
                    <a:pt x="4725" y="12397"/>
                  </a:lnTo>
                  <a:lnTo>
                    <a:pt x="5017" y="12470"/>
                  </a:lnTo>
                  <a:lnTo>
                    <a:pt x="5334" y="12519"/>
                  </a:lnTo>
                  <a:lnTo>
                    <a:pt x="5651" y="12568"/>
                  </a:lnTo>
                  <a:lnTo>
                    <a:pt x="5967" y="12592"/>
                  </a:lnTo>
                  <a:lnTo>
                    <a:pt x="6284" y="12592"/>
                  </a:lnTo>
                  <a:lnTo>
                    <a:pt x="6284" y="12592"/>
                  </a:lnTo>
                  <a:lnTo>
                    <a:pt x="6625" y="12592"/>
                  </a:lnTo>
                  <a:lnTo>
                    <a:pt x="6941" y="12568"/>
                  </a:lnTo>
                  <a:lnTo>
                    <a:pt x="7258" y="12519"/>
                  </a:lnTo>
                  <a:lnTo>
                    <a:pt x="7550" y="12470"/>
                  </a:lnTo>
                  <a:lnTo>
                    <a:pt x="7867" y="12397"/>
                  </a:lnTo>
                  <a:lnTo>
                    <a:pt x="8159" y="12300"/>
                  </a:lnTo>
                  <a:lnTo>
                    <a:pt x="8451" y="12202"/>
                  </a:lnTo>
                  <a:lnTo>
                    <a:pt x="8744" y="12105"/>
                  </a:lnTo>
                  <a:lnTo>
                    <a:pt x="9012" y="11983"/>
                  </a:lnTo>
                  <a:lnTo>
                    <a:pt x="9279" y="11837"/>
                  </a:lnTo>
                  <a:lnTo>
                    <a:pt x="9547" y="11691"/>
                  </a:lnTo>
                  <a:lnTo>
                    <a:pt x="9815" y="11520"/>
                  </a:lnTo>
                  <a:lnTo>
                    <a:pt x="10302" y="11155"/>
                  </a:lnTo>
                  <a:lnTo>
                    <a:pt x="10741" y="10741"/>
                  </a:lnTo>
                  <a:lnTo>
                    <a:pt x="11155" y="10303"/>
                  </a:lnTo>
                  <a:lnTo>
                    <a:pt x="11520" y="9816"/>
                  </a:lnTo>
                  <a:lnTo>
                    <a:pt x="11666" y="9572"/>
                  </a:lnTo>
                  <a:lnTo>
                    <a:pt x="11812" y="9304"/>
                  </a:lnTo>
                  <a:lnTo>
                    <a:pt x="11958" y="9036"/>
                  </a:lnTo>
                  <a:lnTo>
                    <a:pt x="12080" y="8744"/>
                  </a:lnTo>
                  <a:lnTo>
                    <a:pt x="12202" y="8476"/>
                  </a:lnTo>
                  <a:lnTo>
                    <a:pt x="12299" y="8184"/>
                  </a:lnTo>
                  <a:lnTo>
                    <a:pt x="12397" y="7867"/>
                  </a:lnTo>
                  <a:lnTo>
                    <a:pt x="12446" y="7575"/>
                  </a:lnTo>
                  <a:lnTo>
                    <a:pt x="12519" y="7258"/>
                  </a:lnTo>
                  <a:lnTo>
                    <a:pt x="12543" y="6942"/>
                  </a:lnTo>
                  <a:lnTo>
                    <a:pt x="12567" y="6625"/>
                  </a:lnTo>
                  <a:lnTo>
                    <a:pt x="12592" y="6308"/>
                  </a:lnTo>
                  <a:lnTo>
                    <a:pt x="12592" y="6308"/>
                  </a:lnTo>
                  <a:lnTo>
                    <a:pt x="12567" y="5968"/>
                  </a:lnTo>
                  <a:lnTo>
                    <a:pt x="12543" y="5651"/>
                  </a:lnTo>
                  <a:lnTo>
                    <a:pt x="12519" y="5334"/>
                  </a:lnTo>
                  <a:lnTo>
                    <a:pt x="12446" y="5042"/>
                  </a:lnTo>
                  <a:lnTo>
                    <a:pt x="12397" y="4725"/>
                  </a:lnTo>
                  <a:lnTo>
                    <a:pt x="12299" y="4433"/>
                  </a:lnTo>
                  <a:lnTo>
                    <a:pt x="12202" y="4141"/>
                  </a:lnTo>
                  <a:lnTo>
                    <a:pt x="12080" y="3849"/>
                  </a:lnTo>
                  <a:lnTo>
                    <a:pt x="11958" y="3581"/>
                  </a:lnTo>
                  <a:lnTo>
                    <a:pt x="11812" y="3313"/>
                  </a:lnTo>
                  <a:lnTo>
                    <a:pt x="11666" y="3045"/>
                  </a:lnTo>
                  <a:lnTo>
                    <a:pt x="11520" y="2777"/>
                  </a:lnTo>
                  <a:lnTo>
                    <a:pt x="11155" y="2290"/>
                  </a:lnTo>
                  <a:lnTo>
                    <a:pt x="10741" y="1852"/>
                  </a:lnTo>
                  <a:lnTo>
                    <a:pt x="10302" y="1437"/>
                  </a:lnTo>
                  <a:lnTo>
                    <a:pt x="9815" y="1072"/>
                  </a:lnTo>
                  <a:lnTo>
                    <a:pt x="9547" y="926"/>
                  </a:lnTo>
                  <a:lnTo>
                    <a:pt x="9279" y="780"/>
                  </a:lnTo>
                  <a:lnTo>
                    <a:pt x="9012" y="634"/>
                  </a:lnTo>
                  <a:lnTo>
                    <a:pt x="8744" y="512"/>
                  </a:lnTo>
                  <a:lnTo>
                    <a:pt x="8451" y="390"/>
                  </a:lnTo>
                  <a:lnTo>
                    <a:pt x="8159" y="293"/>
                  </a:lnTo>
                  <a:lnTo>
                    <a:pt x="7867" y="220"/>
                  </a:lnTo>
                  <a:lnTo>
                    <a:pt x="7550" y="147"/>
                  </a:lnTo>
                  <a:lnTo>
                    <a:pt x="7258" y="74"/>
                  </a:lnTo>
                  <a:lnTo>
                    <a:pt x="6941" y="49"/>
                  </a:lnTo>
                  <a:lnTo>
                    <a:pt x="6625" y="25"/>
                  </a:lnTo>
                  <a:lnTo>
                    <a:pt x="6284" y="1"/>
                  </a:lnTo>
                  <a:lnTo>
                    <a:pt x="6284" y="1"/>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14;p39">
              <a:extLst>
                <a:ext uri="{FF2B5EF4-FFF2-40B4-BE49-F238E27FC236}">
                  <a16:creationId xmlns:a16="http://schemas.microsoft.com/office/drawing/2014/main" id="{F1EC8FE6-6508-2E30-FF06-6D71D5016DC8}"/>
                </a:ext>
              </a:extLst>
            </p:cNvPr>
            <p:cNvSpPr/>
            <p:nvPr/>
          </p:nvSpPr>
          <p:spPr>
            <a:xfrm>
              <a:off x="3988375" y="3021875"/>
              <a:ext cx="241750" cy="241750"/>
            </a:xfrm>
            <a:custGeom>
              <a:avLst/>
              <a:gdLst/>
              <a:ahLst/>
              <a:cxnLst/>
              <a:rect l="l" t="t" r="r" b="b"/>
              <a:pathLst>
                <a:path w="9670" h="9670" fill="none" extrusionOk="0">
                  <a:moveTo>
                    <a:pt x="4823" y="1"/>
                  </a:moveTo>
                  <a:lnTo>
                    <a:pt x="4823" y="1"/>
                  </a:lnTo>
                  <a:lnTo>
                    <a:pt x="4336" y="25"/>
                  </a:lnTo>
                  <a:lnTo>
                    <a:pt x="3849" y="98"/>
                  </a:lnTo>
                  <a:lnTo>
                    <a:pt x="3386" y="220"/>
                  </a:lnTo>
                  <a:lnTo>
                    <a:pt x="2947" y="391"/>
                  </a:lnTo>
                  <a:lnTo>
                    <a:pt x="2533" y="585"/>
                  </a:lnTo>
                  <a:lnTo>
                    <a:pt x="2144" y="829"/>
                  </a:lnTo>
                  <a:lnTo>
                    <a:pt x="1754" y="1121"/>
                  </a:lnTo>
                  <a:lnTo>
                    <a:pt x="1413" y="1438"/>
                  </a:lnTo>
                  <a:lnTo>
                    <a:pt x="1096" y="1779"/>
                  </a:lnTo>
                  <a:lnTo>
                    <a:pt x="829" y="2144"/>
                  </a:lnTo>
                  <a:lnTo>
                    <a:pt x="585" y="2534"/>
                  </a:lnTo>
                  <a:lnTo>
                    <a:pt x="390" y="2972"/>
                  </a:lnTo>
                  <a:lnTo>
                    <a:pt x="220" y="3411"/>
                  </a:lnTo>
                  <a:lnTo>
                    <a:pt x="98" y="3873"/>
                  </a:lnTo>
                  <a:lnTo>
                    <a:pt x="25" y="4336"/>
                  </a:lnTo>
                  <a:lnTo>
                    <a:pt x="1" y="4847"/>
                  </a:lnTo>
                  <a:lnTo>
                    <a:pt x="1" y="4847"/>
                  </a:lnTo>
                  <a:lnTo>
                    <a:pt x="25" y="5335"/>
                  </a:lnTo>
                  <a:lnTo>
                    <a:pt x="98" y="5822"/>
                  </a:lnTo>
                  <a:lnTo>
                    <a:pt x="220" y="6284"/>
                  </a:lnTo>
                  <a:lnTo>
                    <a:pt x="390" y="6723"/>
                  </a:lnTo>
                  <a:lnTo>
                    <a:pt x="585" y="7137"/>
                  </a:lnTo>
                  <a:lnTo>
                    <a:pt x="829" y="7527"/>
                  </a:lnTo>
                  <a:lnTo>
                    <a:pt x="1096" y="7916"/>
                  </a:lnTo>
                  <a:lnTo>
                    <a:pt x="1413" y="8257"/>
                  </a:lnTo>
                  <a:lnTo>
                    <a:pt x="1754" y="8574"/>
                  </a:lnTo>
                  <a:lnTo>
                    <a:pt x="2144" y="8842"/>
                  </a:lnTo>
                  <a:lnTo>
                    <a:pt x="2533" y="9085"/>
                  </a:lnTo>
                  <a:lnTo>
                    <a:pt x="2947" y="9280"/>
                  </a:lnTo>
                  <a:lnTo>
                    <a:pt x="3386" y="9451"/>
                  </a:lnTo>
                  <a:lnTo>
                    <a:pt x="3849" y="9572"/>
                  </a:lnTo>
                  <a:lnTo>
                    <a:pt x="4336" y="9645"/>
                  </a:lnTo>
                  <a:lnTo>
                    <a:pt x="4823" y="9670"/>
                  </a:lnTo>
                  <a:lnTo>
                    <a:pt x="4823" y="9670"/>
                  </a:lnTo>
                  <a:lnTo>
                    <a:pt x="5334" y="9645"/>
                  </a:lnTo>
                  <a:lnTo>
                    <a:pt x="5797" y="9572"/>
                  </a:lnTo>
                  <a:lnTo>
                    <a:pt x="6260" y="9451"/>
                  </a:lnTo>
                  <a:lnTo>
                    <a:pt x="6698" y="9280"/>
                  </a:lnTo>
                  <a:lnTo>
                    <a:pt x="7136" y="9085"/>
                  </a:lnTo>
                  <a:lnTo>
                    <a:pt x="7526" y="8842"/>
                  </a:lnTo>
                  <a:lnTo>
                    <a:pt x="7892" y="8574"/>
                  </a:lnTo>
                  <a:lnTo>
                    <a:pt x="8232" y="8257"/>
                  </a:lnTo>
                  <a:lnTo>
                    <a:pt x="8549" y="7916"/>
                  </a:lnTo>
                  <a:lnTo>
                    <a:pt x="8841" y="7527"/>
                  </a:lnTo>
                  <a:lnTo>
                    <a:pt x="9085" y="7137"/>
                  </a:lnTo>
                  <a:lnTo>
                    <a:pt x="9280" y="6723"/>
                  </a:lnTo>
                  <a:lnTo>
                    <a:pt x="9450" y="6284"/>
                  </a:lnTo>
                  <a:lnTo>
                    <a:pt x="9572" y="5822"/>
                  </a:lnTo>
                  <a:lnTo>
                    <a:pt x="9645" y="5335"/>
                  </a:lnTo>
                  <a:lnTo>
                    <a:pt x="9669" y="4847"/>
                  </a:lnTo>
                  <a:lnTo>
                    <a:pt x="9669" y="4847"/>
                  </a:lnTo>
                  <a:lnTo>
                    <a:pt x="9645" y="4336"/>
                  </a:lnTo>
                  <a:lnTo>
                    <a:pt x="9572" y="3873"/>
                  </a:lnTo>
                  <a:lnTo>
                    <a:pt x="9450" y="3411"/>
                  </a:lnTo>
                  <a:lnTo>
                    <a:pt x="9280" y="2972"/>
                  </a:lnTo>
                  <a:lnTo>
                    <a:pt x="9085" y="2534"/>
                  </a:lnTo>
                  <a:lnTo>
                    <a:pt x="8841" y="2144"/>
                  </a:lnTo>
                  <a:lnTo>
                    <a:pt x="8549" y="1779"/>
                  </a:lnTo>
                  <a:lnTo>
                    <a:pt x="8232" y="1438"/>
                  </a:lnTo>
                  <a:lnTo>
                    <a:pt x="7892" y="1121"/>
                  </a:lnTo>
                  <a:lnTo>
                    <a:pt x="7526" y="829"/>
                  </a:lnTo>
                  <a:lnTo>
                    <a:pt x="7136" y="585"/>
                  </a:lnTo>
                  <a:lnTo>
                    <a:pt x="6698" y="391"/>
                  </a:lnTo>
                  <a:lnTo>
                    <a:pt x="6260" y="220"/>
                  </a:lnTo>
                  <a:lnTo>
                    <a:pt x="5797" y="98"/>
                  </a:lnTo>
                  <a:lnTo>
                    <a:pt x="5334" y="25"/>
                  </a:lnTo>
                  <a:lnTo>
                    <a:pt x="4823" y="1"/>
                  </a:lnTo>
                  <a:lnTo>
                    <a:pt x="4823"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5" name="Google Shape;615;p39">
              <a:extLst>
                <a:ext uri="{FF2B5EF4-FFF2-40B4-BE49-F238E27FC236}">
                  <a16:creationId xmlns:a16="http://schemas.microsoft.com/office/drawing/2014/main" id="{EF5B9E1C-9DD1-CD89-9A3A-4C4A4EF48ED0}"/>
                </a:ext>
              </a:extLst>
            </p:cNvPr>
            <p:cNvSpPr/>
            <p:nvPr/>
          </p:nvSpPr>
          <p:spPr>
            <a:xfrm>
              <a:off x="4024300" y="3058425"/>
              <a:ext cx="84650" cy="84650"/>
            </a:xfrm>
            <a:custGeom>
              <a:avLst/>
              <a:gdLst/>
              <a:ahLst/>
              <a:cxnLst/>
              <a:rect l="l" t="t" r="r" b="b"/>
              <a:pathLst>
                <a:path w="3386" h="3386" fill="none" extrusionOk="0">
                  <a:moveTo>
                    <a:pt x="0" y="3385"/>
                  </a:moveTo>
                  <a:lnTo>
                    <a:pt x="0" y="3385"/>
                  </a:lnTo>
                  <a:lnTo>
                    <a:pt x="25" y="3020"/>
                  </a:lnTo>
                  <a:lnTo>
                    <a:pt x="74" y="2704"/>
                  </a:lnTo>
                  <a:lnTo>
                    <a:pt x="147" y="2363"/>
                  </a:lnTo>
                  <a:lnTo>
                    <a:pt x="268" y="2070"/>
                  </a:lnTo>
                  <a:lnTo>
                    <a:pt x="414" y="1754"/>
                  </a:lnTo>
                  <a:lnTo>
                    <a:pt x="585" y="1486"/>
                  </a:lnTo>
                  <a:lnTo>
                    <a:pt x="780" y="1218"/>
                  </a:lnTo>
                  <a:lnTo>
                    <a:pt x="999" y="974"/>
                  </a:lnTo>
                  <a:lnTo>
                    <a:pt x="1243" y="755"/>
                  </a:lnTo>
                  <a:lnTo>
                    <a:pt x="1510" y="560"/>
                  </a:lnTo>
                  <a:lnTo>
                    <a:pt x="1778" y="390"/>
                  </a:lnTo>
                  <a:lnTo>
                    <a:pt x="2071" y="244"/>
                  </a:lnTo>
                  <a:lnTo>
                    <a:pt x="2387" y="146"/>
                  </a:lnTo>
                  <a:lnTo>
                    <a:pt x="2704" y="49"/>
                  </a:lnTo>
                  <a:lnTo>
                    <a:pt x="3045" y="0"/>
                  </a:lnTo>
                  <a:lnTo>
                    <a:pt x="3386" y="0"/>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16;p39">
              <a:extLst>
                <a:ext uri="{FF2B5EF4-FFF2-40B4-BE49-F238E27FC236}">
                  <a16:creationId xmlns:a16="http://schemas.microsoft.com/office/drawing/2014/main" id="{ACDAD81C-6399-3BFD-E62B-E4463E85DA22}"/>
                </a:ext>
              </a:extLst>
            </p:cNvPr>
            <p:cNvSpPr/>
            <p:nvPr/>
          </p:nvSpPr>
          <p:spPr>
            <a:xfrm>
              <a:off x="4205750" y="3248375"/>
              <a:ext cx="154050" cy="153475"/>
            </a:xfrm>
            <a:custGeom>
              <a:avLst/>
              <a:gdLst/>
              <a:ahLst/>
              <a:cxnLst/>
              <a:rect l="l" t="t" r="r" b="b"/>
              <a:pathLst>
                <a:path w="6162" h="6139" fill="none" extrusionOk="0">
                  <a:moveTo>
                    <a:pt x="0" y="1024"/>
                  </a:moveTo>
                  <a:lnTo>
                    <a:pt x="4969" y="5992"/>
                  </a:lnTo>
                  <a:lnTo>
                    <a:pt x="4969" y="5992"/>
                  </a:lnTo>
                  <a:lnTo>
                    <a:pt x="5042" y="6041"/>
                  </a:lnTo>
                  <a:lnTo>
                    <a:pt x="5115" y="6090"/>
                  </a:lnTo>
                  <a:lnTo>
                    <a:pt x="5212" y="6114"/>
                  </a:lnTo>
                  <a:lnTo>
                    <a:pt x="5310" y="6138"/>
                  </a:lnTo>
                  <a:lnTo>
                    <a:pt x="5407" y="6114"/>
                  </a:lnTo>
                  <a:lnTo>
                    <a:pt x="5480" y="6090"/>
                  </a:lnTo>
                  <a:lnTo>
                    <a:pt x="5577" y="6041"/>
                  </a:lnTo>
                  <a:lnTo>
                    <a:pt x="5651" y="5992"/>
                  </a:lnTo>
                  <a:lnTo>
                    <a:pt x="6016" y="5627"/>
                  </a:lnTo>
                  <a:lnTo>
                    <a:pt x="6016" y="5627"/>
                  </a:lnTo>
                  <a:lnTo>
                    <a:pt x="6089" y="5554"/>
                  </a:lnTo>
                  <a:lnTo>
                    <a:pt x="6138" y="5456"/>
                  </a:lnTo>
                  <a:lnTo>
                    <a:pt x="6162" y="5359"/>
                  </a:lnTo>
                  <a:lnTo>
                    <a:pt x="6162" y="5286"/>
                  </a:lnTo>
                  <a:lnTo>
                    <a:pt x="6162" y="5188"/>
                  </a:lnTo>
                  <a:lnTo>
                    <a:pt x="6138" y="5091"/>
                  </a:lnTo>
                  <a:lnTo>
                    <a:pt x="6089" y="5018"/>
                  </a:lnTo>
                  <a:lnTo>
                    <a:pt x="6016" y="4921"/>
                  </a:lnTo>
                  <a:lnTo>
                    <a:pt x="1072"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543;p39">
            <a:extLst>
              <a:ext uri="{FF2B5EF4-FFF2-40B4-BE49-F238E27FC236}">
                <a16:creationId xmlns:a16="http://schemas.microsoft.com/office/drawing/2014/main" id="{5087CE59-643C-3DB4-A114-3EA668BE5DF0}"/>
              </a:ext>
            </a:extLst>
          </p:cNvPr>
          <p:cNvGrpSpPr/>
          <p:nvPr/>
        </p:nvGrpSpPr>
        <p:grpSpPr>
          <a:xfrm>
            <a:off x="8698701" y="2886248"/>
            <a:ext cx="619765" cy="649814"/>
            <a:chOff x="5961125" y="1623900"/>
            <a:chExt cx="427450" cy="448175"/>
          </a:xfrm>
        </p:grpSpPr>
        <p:sp>
          <p:nvSpPr>
            <p:cNvPr id="28" name="Google Shape;544;p39">
              <a:extLst>
                <a:ext uri="{FF2B5EF4-FFF2-40B4-BE49-F238E27FC236}">
                  <a16:creationId xmlns:a16="http://schemas.microsoft.com/office/drawing/2014/main" id="{553083B1-6506-81ED-6E52-6E8590C2ED58}"/>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545;p39">
              <a:extLst>
                <a:ext uri="{FF2B5EF4-FFF2-40B4-BE49-F238E27FC236}">
                  <a16:creationId xmlns:a16="http://schemas.microsoft.com/office/drawing/2014/main" id="{0654FF7B-30FD-C8D0-DD77-37124C22FC05}"/>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546;p39">
              <a:extLst>
                <a:ext uri="{FF2B5EF4-FFF2-40B4-BE49-F238E27FC236}">
                  <a16:creationId xmlns:a16="http://schemas.microsoft.com/office/drawing/2014/main" id="{4912E620-B7C1-4A71-117C-CEEE14553983}"/>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547;p39">
              <a:extLst>
                <a:ext uri="{FF2B5EF4-FFF2-40B4-BE49-F238E27FC236}">
                  <a16:creationId xmlns:a16="http://schemas.microsoft.com/office/drawing/2014/main" id="{75CA379A-C0BD-8431-B730-2CD35F3D3988}"/>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548;p39">
              <a:extLst>
                <a:ext uri="{FF2B5EF4-FFF2-40B4-BE49-F238E27FC236}">
                  <a16:creationId xmlns:a16="http://schemas.microsoft.com/office/drawing/2014/main" id="{1E3E8197-A6ED-1EBF-3544-5CCB36EBF1AC}"/>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549;p39">
              <a:extLst>
                <a:ext uri="{FF2B5EF4-FFF2-40B4-BE49-F238E27FC236}">
                  <a16:creationId xmlns:a16="http://schemas.microsoft.com/office/drawing/2014/main" id="{9EC69D6B-98BC-3215-79F4-9420DAA3C603}"/>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550;p39">
              <a:extLst>
                <a:ext uri="{FF2B5EF4-FFF2-40B4-BE49-F238E27FC236}">
                  <a16:creationId xmlns:a16="http://schemas.microsoft.com/office/drawing/2014/main" id="{9B861B81-510D-1081-3234-2A9DEE3DB119}"/>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TextBox 34">
            <a:extLst>
              <a:ext uri="{FF2B5EF4-FFF2-40B4-BE49-F238E27FC236}">
                <a16:creationId xmlns:a16="http://schemas.microsoft.com/office/drawing/2014/main" id="{0B68FD6B-D72E-4E33-2480-F4AADE47AEB5}"/>
              </a:ext>
            </a:extLst>
          </p:cNvPr>
          <p:cNvSpPr txBox="1"/>
          <p:nvPr/>
        </p:nvSpPr>
        <p:spPr>
          <a:xfrm>
            <a:off x="3581384" y="4054119"/>
            <a:ext cx="1447816" cy="646331"/>
          </a:xfrm>
          <a:prstGeom prst="rect">
            <a:avLst/>
          </a:prstGeom>
          <a:noFill/>
        </p:spPr>
        <p:txBody>
          <a:bodyPr wrap="square">
            <a:spAutoFit/>
          </a:bodyPr>
          <a:lstStyle/>
          <a:p>
            <a:pPr marL="17463" lvl="1" algn="l"/>
            <a:r>
              <a:rPr lang="en-US" altLang="en-US" dirty="0">
                <a:solidFill>
                  <a:srgbClr val="FDBD22"/>
                </a:solidFill>
              </a:rPr>
              <a:t>REFRAMING-TECHNIK</a:t>
            </a:r>
            <a:endParaRPr lang="is-IS" altLang="en-US" dirty="0">
              <a:solidFill>
                <a:srgbClr val="FDBD22"/>
              </a:solidFill>
            </a:endParaRPr>
          </a:p>
        </p:txBody>
      </p:sp>
      <p:sp>
        <p:nvSpPr>
          <p:cNvPr id="36" name="TextBox 35">
            <a:extLst>
              <a:ext uri="{FF2B5EF4-FFF2-40B4-BE49-F238E27FC236}">
                <a16:creationId xmlns:a16="http://schemas.microsoft.com/office/drawing/2014/main" id="{6ABFD330-474A-7DD1-34BD-DF47895C9E4B}"/>
              </a:ext>
            </a:extLst>
          </p:cNvPr>
          <p:cNvSpPr txBox="1"/>
          <p:nvPr/>
        </p:nvSpPr>
        <p:spPr>
          <a:xfrm>
            <a:off x="5846128" y="4080121"/>
            <a:ext cx="1627466" cy="646331"/>
          </a:xfrm>
          <a:prstGeom prst="rect">
            <a:avLst/>
          </a:prstGeom>
          <a:noFill/>
        </p:spPr>
        <p:txBody>
          <a:bodyPr wrap="square">
            <a:spAutoFit/>
          </a:bodyPr>
          <a:lstStyle/>
          <a:p>
            <a:pPr marL="17463" lvl="1" algn="l"/>
            <a:r>
              <a:rPr lang="en-US" altLang="en-US" dirty="0">
                <a:solidFill>
                  <a:srgbClr val="D9552F"/>
                </a:solidFill>
              </a:rPr>
              <a:t>RECHTFERTIGUNGSTECHNIK</a:t>
            </a:r>
            <a:endParaRPr lang="is-IS" altLang="en-US" dirty="0">
              <a:solidFill>
                <a:srgbClr val="D9552F"/>
              </a:solidFill>
            </a:endParaRPr>
          </a:p>
        </p:txBody>
      </p:sp>
      <p:sp>
        <p:nvSpPr>
          <p:cNvPr id="37" name="TextBox 36">
            <a:extLst>
              <a:ext uri="{FF2B5EF4-FFF2-40B4-BE49-F238E27FC236}">
                <a16:creationId xmlns:a16="http://schemas.microsoft.com/office/drawing/2014/main" id="{6C9C66EB-BD51-0B00-98E6-665908809798}"/>
              </a:ext>
            </a:extLst>
          </p:cNvPr>
          <p:cNvSpPr txBox="1"/>
          <p:nvPr/>
        </p:nvSpPr>
        <p:spPr>
          <a:xfrm>
            <a:off x="8380610" y="4054119"/>
            <a:ext cx="1729478" cy="646331"/>
          </a:xfrm>
          <a:prstGeom prst="rect">
            <a:avLst/>
          </a:prstGeom>
          <a:noFill/>
        </p:spPr>
        <p:txBody>
          <a:bodyPr wrap="square">
            <a:spAutoFit/>
          </a:bodyPr>
          <a:lstStyle/>
          <a:p>
            <a:pPr marL="17463" lvl="1" algn="l"/>
            <a:r>
              <a:rPr lang="en-US" altLang="en-US" dirty="0">
                <a:solidFill>
                  <a:srgbClr val="DE0A1D"/>
                </a:solidFill>
              </a:rPr>
              <a:t>PRÄVENTIVTECHNIK</a:t>
            </a:r>
            <a:endParaRPr lang="is-IS" altLang="en-US" dirty="0">
              <a:solidFill>
                <a:srgbClr val="DE0A1D"/>
              </a:solidFill>
            </a:endParaRPr>
          </a:p>
        </p:txBody>
      </p:sp>
    </p:spTree>
    <p:extLst>
      <p:ext uri="{BB962C8B-B14F-4D97-AF65-F5344CB8AC3E}">
        <p14:creationId xmlns:p14="http://schemas.microsoft.com/office/powerpoint/2010/main" val="40652766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Pushback-Technik</a:t>
            </a:r>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9052838"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9515545"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899096" y="1964864"/>
            <a:ext cx="7282377"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grpSp>
        <p:nvGrpSpPr>
          <p:cNvPr id="7" name="Google Shape;822;p39">
            <a:extLst>
              <a:ext uri="{FF2B5EF4-FFF2-40B4-BE49-F238E27FC236}">
                <a16:creationId xmlns:a16="http://schemas.microsoft.com/office/drawing/2014/main" id="{FDBC4C61-56F4-93C7-77AB-648CEB584688}"/>
              </a:ext>
            </a:extLst>
          </p:cNvPr>
          <p:cNvGrpSpPr/>
          <p:nvPr/>
        </p:nvGrpSpPr>
        <p:grpSpPr>
          <a:xfrm>
            <a:off x="9144139" y="1964864"/>
            <a:ext cx="733453" cy="446316"/>
            <a:chOff x="3269900" y="3064500"/>
            <a:chExt cx="432325" cy="263075"/>
          </a:xfrm>
        </p:grpSpPr>
        <p:sp>
          <p:nvSpPr>
            <p:cNvPr id="8" name="Google Shape;823;p39">
              <a:extLst>
                <a:ext uri="{FF2B5EF4-FFF2-40B4-BE49-F238E27FC236}">
                  <a16:creationId xmlns:a16="http://schemas.microsoft.com/office/drawing/2014/main" id="{7FB463C4-0128-4907-C53B-B3D8171BB52A}"/>
                </a:ext>
              </a:extLst>
            </p:cNvPr>
            <p:cNvSpPr/>
            <p:nvPr/>
          </p:nvSpPr>
          <p:spPr>
            <a:xfrm>
              <a:off x="3269900" y="3064500"/>
              <a:ext cx="432325" cy="263075"/>
            </a:xfrm>
            <a:custGeom>
              <a:avLst/>
              <a:gdLst/>
              <a:ahLst/>
              <a:cxnLst/>
              <a:rect l="l" t="t" r="r" b="b"/>
              <a:pathLst>
                <a:path w="17293" h="10523" fill="none" extrusionOk="0">
                  <a:moveTo>
                    <a:pt x="14711" y="7916"/>
                  </a:moveTo>
                  <a:lnTo>
                    <a:pt x="14711" y="7916"/>
                  </a:lnTo>
                  <a:lnTo>
                    <a:pt x="14151" y="8379"/>
                  </a:lnTo>
                  <a:lnTo>
                    <a:pt x="13493" y="8842"/>
                  </a:lnTo>
                  <a:lnTo>
                    <a:pt x="12811" y="9280"/>
                  </a:lnTo>
                  <a:lnTo>
                    <a:pt x="12446" y="9475"/>
                  </a:lnTo>
                  <a:lnTo>
                    <a:pt x="12056" y="9670"/>
                  </a:lnTo>
                  <a:lnTo>
                    <a:pt x="11667" y="9840"/>
                  </a:lnTo>
                  <a:lnTo>
                    <a:pt x="11253" y="10011"/>
                  </a:lnTo>
                  <a:lnTo>
                    <a:pt x="10839" y="10157"/>
                  </a:lnTo>
                  <a:lnTo>
                    <a:pt x="10425" y="10278"/>
                  </a:lnTo>
                  <a:lnTo>
                    <a:pt x="9986" y="10376"/>
                  </a:lnTo>
                  <a:lnTo>
                    <a:pt x="9548" y="10449"/>
                  </a:lnTo>
                  <a:lnTo>
                    <a:pt x="9109" y="10498"/>
                  </a:lnTo>
                  <a:lnTo>
                    <a:pt x="8647" y="10522"/>
                  </a:lnTo>
                  <a:lnTo>
                    <a:pt x="8647" y="10522"/>
                  </a:lnTo>
                  <a:lnTo>
                    <a:pt x="8233" y="10522"/>
                  </a:lnTo>
                  <a:lnTo>
                    <a:pt x="7843" y="10473"/>
                  </a:lnTo>
                  <a:lnTo>
                    <a:pt x="7453" y="10425"/>
                  </a:lnTo>
                  <a:lnTo>
                    <a:pt x="7064" y="10327"/>
                  </a:lnTo>
                  <a:lnTo>
                    <a:pt x="6674" y="10230"/>
                  </a:lnTo>
                  <a:lnTo>
                    <a:pt x="6284" y="10108"/>
                  </a:lnTo>
                  <a:lnTo>
                    <a:pt x="5919" y="9986"/>
                  </a:lnTo>
                  <a:lnTo>
                    <a:pt x="5554" y="9840"/>
                  </a:lnTo>
                  <a:lnTo>
                    <a:pt x="5213" y="9670"/>
                  </a:lnTo>
                  <a:lnTo>
                    <a:pt x="4847" y="9499"/>
                  </a:lnTo>
                  <a:lnTo>
                    <a:pt x="4190" y="9109"/>
                  </a:lnTo>
                  <a:lnTo>
                    <a:pt x="3557" y="8695"/>
                  </a:lnTo>
                  <a:lnTo>
                    <a:pt x="2972" y="8233"/>
                  </a:lnTo>
                  <a:lnTo>
                    <a:pt x="2412" y="7794"/>
                  </a:lnTo>
                  <a:lnTo>
                    <a:pt x="1900" y="7332"/>
                  </a:lnTo>
                  <a:lnTo>
                    <a:pt x="1438" y="6893"/>
                  </a:lnTo>
                  <a:lnTo>
                    <a:pt x="1048" y="6479"/>
                  </a:lnTo>
                  <a:lnTo>
                    <a:pt x="390" y="5748"/>
                  </a:lnTo>
                  <a:lnTo>
                    <a:pt x="1" y="5261"/>
                  </a:lnTo>
                  <a:lnTo>
                    <a:pt x="1" y="5261"/>
                  </a:lnTo>
                  <a:lnTo>
                    <a:pt x="390" y="4774"/>
                  </a:lnTo>
                  <a:lnTo>
                    <a:pt x="1048" y="4044"/>
                  </a:lnTo>
                  <a:lnTo>
                    <a:pt x="1438" y="3630"/>
                  </a:lnTo>
                  <a:lnTo>
                    <a:pt x="1900" y="3191"/>
                  </a:lnTo>
                  <a:lnTo>
                    <a:pt x="2412" y="2728"/>
                  </a:lnTo>
                  <a:lnTo>
                    <a:pt x="2972" y="2290"/>
                  </a:lnTo>
                  <a:lnTo>
                    <a:pt x="3557" y="1852"/>
                  </a:lnTo>
                  <a:lnTo>
                    <a:pt x="4190" y="1413"/>
                  </a:lnTo>
                  <a:lnTo>
                    <a:pt x="4847" y="1024"/>
                  </a:lnTo>
                  <a:lnTo>
                    <a:pt x="5213" y="853"/>
                  </a:lnTo>
                  <a:lnTo>
                    <a:pt x="5554" y="683"/>
                  </a:lnTo>
                  <a:lnTo>
                    <a:pt x="5919" y="536"/>
                  </a:lnTo>
                  <a:lnTo>
                    <a:pt x="6284" y="415"/>
                  </a:lnTo>
                  <a:lnTo>
                    <a:pt x="6674" y="293"/>
                  </a:lnTo>
                  <a:lnTo>
                    <a:pt x="7064" y="196"/>
                  </a:lnTo>
                  <a:lnTo>
                    <a:pt x="7453" y="98"/>
                  </a:lnTo>
                  <a:lnTo>
                    <a:pt x="7843" y="49"/>
                  </a:lnTo>
                  <a:lnTo>
                    <a:pt x="8233" y="1"/>
                  </a:lnTo>
                  <a:lnTo>
                    <a:pt x="8647" y="1"/>
                  </a:lnTo>
                  <a:lnTo>
                    <a:pt x="8647" y="1"/>
                  </a:lnTo>
                  <a:lnTo>
                    <a:pt x="9109" y="25"/>
                  </a:lnTo>
                  <a:lnTo>
                    <a:pt x="9548" y="74"/>
                  </a:lnTo>
                  <a:lnTo>
                    <a:pt x="9986" y="147"/>
                  </a:lnTo>
                  <a:lnTo>
                    <a:pt x="10425" y="244"/>
                  </a:lnTo>
                  <a:lnTo>
                    <a:pt x="10839" y="366"/>
                  </a:lnTo>
                  <a:lnTo>
                    <a:pt x="11253" y="512"/>
                  </a:lnTo>
                  <a:lnTo>
                    <a:pt x="11667" y="683"/>
                  </a:lnTo>
                  <a:lnTo>
                    <a:pt x="12056" y="853"/>
                  </a:lnTo>
                  <a:lnTo>
                    <a:pt x="12446" y="1048"/>
                  </a:lnTo>
                  <a:lnTo>
                    <a:pt x="12811" y="1243"/>
                  </a:lnTo>
                  <a:lnTo>
                    <a:pt x="13493" y="1681"/>
                  </a:lnTo>
                  <a:lnTo>
                    <a:pt x="14151" y="2144"/>
                  </a:lnTo>
                  <a:lnTo>
                    <a:pt x="14711" y="2607"/>
                  </a:lnTo>
                  <a:lnTo>
                    <a:pt x="14711" y="2607"/>
                  </a:lnTo>
                  <a:lnTo>
                    <a:pt x="15198" y="3021"/>
                  </a:lnTo>
                  <a:lnTo>
                    <a:pt x="15637" y="3435"/>
                  </a:lnTo>
                  <a:lnTo>
                    <a:pt x="16026" y="3824"/>
                  </a:lnTo>
                  <a:lnTo>
                    <a:pt x="16367" y="4190"/>
                  </a:lnTo>
                  <a:lnTo>
                    <a:pt x="16927" y="4823"/>
                  </a:lnTo>
                  <a:lnTo>
                    <a:pt x="17293" y="5261"/>
                  </a:lnTo>
                  <a:lnTo>
                    <a:pt x="17293" y="5261"/>
                  </a:lnTo>
                  <a:lnTo>
                    <a:pt x="16927" y="5700"/>
                  </a:lnTo>
                  <a:lnTo>
                    <a:pt x="16367" y="6333"/>
                  </a:lnTo>
                  <a:lnTo>
                    <a:pt x="16026" y="6698"/>
                  </a:lnTo>
                  <a:lnTo>
                    <a:pt x="15637" y="7088"/>
                  </a:lnTo>
                  <a:lnTo>
                    <a:pt x="15198" y="7502"/>
                  </a:lnTo>
                  <a:lnTo>
                    <a:pt x="14711" y="7916"/>
                  </a:lnTo>
                  <a:lnTo>
                    <a:pt x="14711" y="7916"/>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824;p39">
              <a:extLst>
                <a:ext uri="{FF2B5EF4-FFF2-40B4-BE49-F238E27FC236}">
                  <a16:creationId xmlns:a16="http://schemas.microsoft.com/office/drawing/2014/main" id="{062740D8-C706-7F0A-A743-CED219841EDC}"/>
                </a:ext>
              </a:extLst>
            </p:cNvPr>
            <p:cNvSpPr/>
            <p:nvPr/>
          </p:nvSpPr>
          <p:spPr>
            <a:xfrm>
              <a:off x="3445875" y="3155825"/>
              <a:ext cx="80400" cy="80400"/>
            </a:xfrm>
            <a:custGeom>
              <a:avLst/>
              <a:gdLst/>
              <a:ahLst/>
              <a:cxnLst/>
              <a:rect l="l" t="t" r="r" b="b"/>
              <a:pathLst>
                <a:path w="3216" h="3216" fill="none" extrusionOk="0">
                  <a:moveTo>
                    <a:pt x="0" y="1608"/>
                  </a:moveTo>
                  <a:lnTo>
                    <a:pt x="0" y="1608"/>
                  </a:lnTo>
                  <a:lnTo>
                    <a:pt x="25" y="1438"/>
                  </a:lnTo>
                  <a:lnTo>
                    <a:pt x="49" y="1292"/>
                  </a:lnTo>
                  <a:lnTo>
                    <a:pt x="73" y="1121"/>
                  </a:lnTo>
                  <a:lnTo>
                    <a:pt x="146" y="975"/>
                  </a:lnTo>
                  <a:lnTo>
                    <a:pt x="195" y="853"/>
                  </a:lnTo>
                  <a:lnTo>
                    <a:pt x="293" y="707"/>
                  </a:lnTo>
                  <a:lnTo>
                    <a:pt x="366" y="585"/>
                  </a:lnTo>
                  <a:lnTo>
                    <a:pt x="487" y="488"/>
                  </a:lnTo>
                  <a:lnTo>
                    <a:pt x="585" y="366"/>
                  </a:lnTo>
                  <a:lnTo>
                    <a:pt x="707" y="293"/>
                  </a:lnTo>
                  <a:lnTo>
                    <a:pt x="853" y="196"/>
                  </a:lnTo>
                  <a:lnTo>
                    <a:pt x="974" y="147"/>
                  </a:lnTo>
                  <a:lnTo>
                    <a:pt x="1121" y="74"/>
                  </a:lnTo>
                  <a:lnTo>
                    <a:pt x="1291" y="50"/>
                  </a:lnTo>
                  <a:lnTo>
                    <a:pt x="1437" y="25"/>
                  </a:lnTo>
                  <a:lnTo>
                    <a:pt x="1608" y="1"/>
                  </a:lnTo>
                  <a:lnTo>
                    <a:pt x="1608" y="1"/>
                  </a:lnTo>
                  <a:lnTo>
                    <a:pt x="1778" y="25"/>
                  </a:lnTo>
                  <a:lnTo>
                    <a:pt x="1924" y="50"/>
                  </a:lnTo>
                  <a:lnTo>
                    <a:pt x="2095" y="74"/>
                  </a:lnTo>
                  <a:lnTo>
                    <a:pt x="2241" y="147"/>
                  </a:lnTo>
                  <a:lnTo>
                    <a:pt x="2363" y="196"/>
                  </a:lnTo>
                  <a:lnTo>
                    <a:pt x="2509" y="293"/>
                  </a:lnTo>
                  <a:lnTo>
                    <a:pt x="2631" y="366"/>
                  </a:lnTo>
                  <a:lnTo>
                    <a:pt x="2728" y="488"/>
                  </a:lnTo>
                  <a:lnTo>
                    <a:pt x="2850" y="585"/>
                  </a:lnTo>
                  <a:lnTo>
                    <a:pt x="2923" y="707"/>
                  </a:lnTo>
                  <a:lnTo>
                    <a:pt x="3020" y="853"/>
                  </a:lnTo>
                  <a:lnTo>
                    <a:pt x="3069" y="975"/>
                  </a:lnTo>
                  <a:lnTo>
                    <a:pt x="3142" y="1121"/>
                  </a:lnTo>
                  <a:lnTo>
                    <a:pt x="3166" y="1292"/>
                  </a:lnTo>
                  <a:lnTo>
                    <a:pt x="3191" y="1438"/>
                  </a:lnTo>
                  <a:lnTo>
                    <a:pt x="3215" y="1608"/>
                  </a:lnTo>
                  <a:lnTo>
                    <a:pt x="3215" y="1608"/>
                  </a:lnTo>
                  <a:lnTo>
                    <a:pt x="3191" y="1779"/>
                  </a:lnTo>
                  <a:lnTo>
                    <a:pt x="3166" y="1925"/>
                  </a:lnTo>
                  <a:lnTo>
                    <a:pt x="3142" y="2095"/>
                  </a:lnTo>
                  <a:lnTo>
                    <a:pt x="3069" y="2242"/>
                  </a:lnTo>
                  <a:lnTo>
                    <a:pt x="3020" y="2363"/>
                  </a:lnTo>
                  <a:lnTo>
                    <a:pt x="2923" y="2509"/>
                  </a:lnTo>
                  <a:lnTo>
                    <a:pt x="2850" y="2631"/>
                  </a:lnTo>
                  <a:lnTo>
                    <a:pt x="2728" y="2729"/>
                  </a:lnTo>
                  <a:lnTo>
                    <a:pt x="2631" y="2850"/>
                  </a:lnTo>
                  <a:lnTo>
                    <a:pt x="2509" y="2924"/>
                  </a:lnTo>
                  <a:lnTo>
                    <a:pt x="2363" y="3021"/>
                  </a:lnTo>
                  <a:lnTo>
                    <a:pt x="2241" y="3070"/>
                  </a:lnTo>
                  <a:lnTo>
                    <a:pt x="2095" y="3143"/>
                  </a:lnTo>
                  <a:lnTo>
                    <a:pt x="1924" y="3167"/>
                  </a:lnTo>
                  <a:lnTo>
                    <a:pt x="1778" y="3191"/>
                  </a:lnTo>
                  <a:lnTo>
                    <a:pt x="1608" y="3216"/>
                  </a:lnTo>
                  <a:lnTo>
                    <a:pt x="1608" y="3216"/>
                  </a:lnTo>
                  <a:lnTo>
                    <a:pt x="1437" y="3191"/>
                  </a:lnTo>
                  <a:lnTo>
                    <a:pt x="1291" y="3167"/>
                  </a:lnTo>
                  <a:lnTo>
                    <a:pt x="1121" y="3143"/>
                  </a:lnTo>
                  <a:lnTo>
                    <a:pt x="974" y="3070"/>
                  </a:lnTo>
                  <a:lnTo>
                    <a:pt x="853" y="3021"/>
                  </a:lnTo>
                  <a:lnTo>
                    <a:pt x="707" y="2924"/>
                  </a:lnTo>
                  <a:lnTo>
                    <a:pt x="585" y="2850"/>
                  </a:lnTo>
                  <a:lnTo>
                    <a:pt x="487" y="2729"/>
                  </a:lnTo>
                  <a:lnTo>
                    <a:pt x="366" y="2631"/>
                  </a:lnTo>
                  <a:lnTo>
                    <a:pt x="293" y="2509"/>
                  </a:lnTo>
                  <a:lnTo>
                    <a:pt x="195" y="2363"/>
                  </a:lnTo>
                  <a:lnTo>
                    <a:pt x="146" y="2242"/>
                  </a:lnTo>
                  <a:lnTo>
                    <a:pt x="73" y="2095"/>
                  </a:lnTo>
                  <a:lnTo>
                    <a:pt x="49" y="1925"/>
                  </a:lnTo>
                  <a:lnTo>
                    <a:pt x="25" y="1779"/>
                  </a:lnTo>
                  <a:lnTo>
                    <a:pt x="0" y="1608"/>
                  </a:lnTo>
                  <a:lnTo>
                    <a:pt x="0" y="1608"/>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825;p39">
              <a:extLst>
                <a:ext uri="{FF2B5EF4-FFF2-40B4-BE49-F238E27FC236}">
                  <a16:creationId xmlns:a16="http://schemas.microsoft.com/office/drawing/2014/main" id="{E46D0668-7755-94D2-A2BF-66B6C0D0AB68}"/>
                </a:ext>
              </a:extLst>
            </p:cNvPr>
            <p:cNvSpPr/>
            <p:nvPr/>
          </p:nvSpPr>
          <p:spPr>
            <a:xfrm>
              <a:off x="3381925" y="3091900"/>
              <a:ext cx="208275" cy="208275"/>
            </a:xfrm>
            <a:custGeom>
              <a:avLst/>
              <a:gdLst/>
              <a:ahLst/>
              <a:cxnLst/>
              <a:rect l="l" t="t" r="r" b="b"/>
              <a:pathLst>
                <a:path w="8331" h="8331" fill="none" extrusionOk="0">
                  <a:moveTo>
                    <a:pt x="1" y="4165"/>
                  </a:moveTo>
                  <a:lnTo>
                    <a:pt x="1" y="4165"/>
                  </a:lnTo>
                  <a:lnTo>
                    <a:pt x="25" y="3751"/>
                  </a:lnTo>
                  <a:lnTo>
                    <a:pt x="74" y="3337"/>
                  </a:lnTo>
                  <a:lnTo>
                    <a:pt x="196" y="2923"/>
                  </a:lnTo>
                  <a:lnTo>
                    <a:pt x="318" y="2534"/>
                  </a:lnTo>
                  <a:lnTo>
                    <a:pt x="512" y="2168"/>
                  </a:lnTo>
                  <a:lnTo>
                    <a:pt x="707" y="1827"/>
                  </a:lnTo>
                  <a:lnTo>
                    <a:pt x="951" y="1511"/>
                  </a:lnTo>
                  <a:lnTo>
                    <a:pt x="1219" y="1218"/>
                  </a:lnTo>
                  <a:lnTo>
                    <a:pt x="1511" y="951"/>
                  </a:lnTo>
                  <a:lnTo>
                    <a:pt x="1828" y="707"/>
                  </a:lnTo>
                  <a:lnTo>
                    <a:pt x="2169" y="512"/>
                  </a:lnTo>
                  <a:lnTo>
                    <a:pt x="2534" y="317"/>
                  </a:lnTo>
                  <a:lnTo>
                    <a:pt x="2924" y="195"/>
                  </a:lnTo>
                  <a:lnTo>
                    <a:pt x="3313" y="74"/>
                  </a:lnTo>
                  <a:lnTo>
                    <a:pt x="3727" y="25"/>
                  </a:lnTo>
                  <a:lnTo>
                    <a:pt x="4166" y="1"/>
                  </a:lnTo>
                  <a:lnTo>
                    <a:pt x="4166" y="1"/>
                  </a:lnTo>
                  <a:lnTo>
                    <a:pt x="4580" y="25"/>
                  </a:lnTo>
                  <a:lnTo>
                    <a:pt x="4994" y="74"/>
                  </a:lnTo>
                  <a:lnTo>
                    <a:pt x="5408" y="195"/>
                  </a:lnTo>
                  <a:lnTo>
                    <a:pt x="5797" y="317"/>
                  </a:lnTo>
                  <a:lnTo>
                    <a:pt x="6163" y="512"/>
                  </a:lnTo>
                  <a:lnTo>
                    <a:pt x="6504" y="707"/>
                  </a:lnTo>
                  <a:lnTo>
                    <a:pt x="6820" y="951"/>
                  </a:lnTo>
                  <a:lnTo>
                    <a:pt x="7113" y="1218"/>
                  </a:lnTo>
                  <a:lnTo>
                    <a:pt x="7381" y="1511"/>
                  </a:lnTo>
                  <a:lnTo>
                    <a:pt x="7624" y="1827"/>
                  </a:lnTo>
                  <a:lnTo>
                    <a:pt x="7819" y="2168"/>
                  </a:lnTo>
                  <a:lnTo>
                    <a:pt x="8014" y="2534"/>
                  </a:lnTo>
                  <a:lnTo>
                    <a:pt x="8136" y="2923"/>
                  </a:lnTo>
                  <a:lnTo>
                    <a:pt x="8257" y="3337"/>
                  </a:lnTo>
                  <a:lnTo>
                    <a:pt x="8306" y="3751"/>
                  </a:lnTo>
                  <a:lnTo>
                    <a:pt x="8330" y="4165"/>
                  </a:lnTo>
                  <a:lnTo>
                    <a:pt x="8330" y="4165"/>
                  </a:lnTo>
                  <a:lnTo>
                    <a:pt x="8306" y="4579"/>
                  </a:lnTo>
                  <a:lnTo>
                    <a:pt x="8257" y="4993"/>
                  </a:lnTo>
                  <a:lnTo>
                    <a:pt x="8136" y="5407"/>
                  </a:lnTo>
                  <a:lnTo>
                    <a:pt x="8014" y="5797"/>
                  </a:lnTo>
                  <a:lnTo>
                    <a:pt x="7819" y="6162"/>
                  </a:lnTo>
                  <a:lnTo>
                    <a:pt x="7624" y="6503"/>
                  </a:lnTo>
                  <a:lnTo>
                    <a:pt x="7381" y="6820"/>
                  </a:lnTo>
                  <a:lnTo>
                    <a:pt x="7113" y="7112"/>
                  </a:lnTo>
                  <a:lnTo>
                    <a:pt x="6820" y="7380"/>
                  </a:lnTo>
                  <a:lnTo>
                    <a:pt x="6504" y="7624"/>
                  </a:lnTo>
                  <a:lnTo>
                    <a:pt x="6163" y="7819"/>
                  </a:lnTo>
                  <a:lnTo>
                    <a:pt x="5797" y="8013"/>
                  </a:lnTo>
                  <a:lnTo>
                    <a:pt x="5408" y="8135"/>
                  </a:lnTo>
                  <a:lnTo>
                    <a:pt x="4994" y="8257"/>
                  </a:lnTo>
                  <a:lnTo>
                    <a:pt x="4580" y="8306"/>
                  </a:lnTo>
                  <a:lnTo>
                    <a:pt x="4166" y="8330"/>
                  </a:lnTo>
                  <a:lnTo>
                    <a:pt x="4166" y="8330"/>
                  </a:lnTo>
                  <a:lnTo>
                    <a:pt x="3727" y="8306"/>
                  </a:lnTo>
                  <a:lnTo>
                    <a:pt x="3313" y="8257"/>
                  </a:lnTo>
                  <a:lnTo>
                    <a:pt x="2924" y="8135"/>
                  </a:lnTo>
                  <a:lnTo>
                    <a:pt x="2534" y="8013"/>
                  </a:lnTo>
                  <a:lnTo>
                    <a:pt x="2169" y="7819"/>
                  </a:lnTo>
                  <a:lnTo>
                    <a:pt x="1828" y="7624"/>
                  </a:lnTo>
                  <a:lnTo>
                    <a:pt x="1511" y="7380"/>
                  </a:lnTo>
                  <a:lnTo>
                    <a:pt x="1219" y="7112"/>
                  </a:lnTo>
                  <a:lnTo>
                    <a:pt x="951" y="6820"/>
                  </a:lnTo>
                  <a:lnTo>
                    <a:pt x="707" y="6503"/>
                  </a:lnTo>
                  <a:lnTo>
                    <a:pt x="512" y="6162"/>
                  </a:lnTo>
                  <a:lnTo>
                    <a:pt x="318" y="5797"/>
                  </a:lnTo>
                  <a:lnTo>
                    <a:pt x="196" y="5407"/>
                  </a:lnTo>
                  <a:lnTo>
                    <a:pt x="74" y="4993"/>
                  </a:lnTo>
                  <a:lnTo>
                    <a:pt x="25" y="4579"/>
                  </a:lnTo>
                  <a:lnTo>
                    <a:pt x="1" y="4165"/>
                  </a:lnTo>
                  <a:lnTo>
                    <a:pt x="1" y="4165"/>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 name="Text Placeholder 6">
            <a:extLst>
              <a:ext uri="{FF2B5EF4-FFF2-40B4-BE49-F238E27FC236}">
                <a16:creationId xmlns:a16="http://schemas.microsoft.com/office/drawing/2014/main" id="{A35BF5FD-2178-4EEF-E949-3E6F6CAEB068}"/>
              </a:ext>
            </a:extLst>
          </p:cNvPr>
          <p:cNvSpPr txBox="1">
            <a:spLocks/>
          </p:cNvSpPr>
          <p:nvPr/>
        </p:nvSpPr>
        <p:spPr>
          <a:xfrm>
            <a:off x="805172" y="1724449"/>
            <a:ext cx="8257024" cy="560718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rgbClr val="19753C"/>
              </a:buClr>
              <a:buNone/>
              <a:tabLst>
                <a:tab pos="398463" algn="l"/>
                <a:tab pos="574675" algn="l"/>
                <a:tab pos="833438" algn="l"/>
              </a:tabLst>
            </a:pPr>
            <a:r>
              <a:rPr lang="en-US" sz="2000" dirty="0">
                <a:solidFill>
                  <a:srgbClr val="595959"/>
                </a:solidFill>
              </a:rPr>
              <a:t>Erwidern Sie den Einwand, indem Sie selbstbewusst, aber </a:t>
            </a:r>
            <a:r>
              <a:rPr lang="en-US" sz="2000" dirty="0">
                <a:solidFill>
                  <a:srgbClr val="DE0A1D"/>
                </a:solidFill>
              </a:rPr>
              <a:t>NICHT arrogant </a:t>
            </a:r>
            <a:r>
              <a:rPr lang="en-US" sz="2000" dirty="0">
                <a:solidFill>
                  <a:srgbClr val="595959"/>
                </a:solidFill>
              </a:rPr>
              <a:t>sind.</a:t>
            </a:r>
          </a:p>
          <a:p>
            <a:pPr marL="0" indent="0">
              <a:spcBef>
                <a:spcPts val="0"/>
              </a:spcBef>
              <a:buClr>
                <a:srgbClr val="19753C"/>
              </a:buClr>
              <a:buNone/>
              <a:tabLst>
                <a:tab pos="398463" algn="l"/>
                <a:tab pos="574675" algn="l"/>
                <a:tab pos="833438" algn="l"/>
              </a:tabLst>
            </a:pPr>
            <a:r>
              <a:rPr lang="en-US" sz="2000" b="1" dirty="0">
                <a:solidFill>
                  <a:srgbClr val="595959"/>
                </a:solidFill>
              </a:rPr>
              <a:t>	</a:t>
            </a:r>
          </a:p>
          <a:p>
            <a:pPr marL="0" indent="0">
              <a:spcBef>
                <a:spcPts val="0"/>
              </a:spcBef>
              <a:buClr>
                <a:srgbClr val="19753C"/>
              </a:buClr>
              <a:buNone/>
              <a:tabLst>
                <a:tab pos="398463" algn="l"/>
                <a:tab pos="574675" algn="l"/>
                <a:tab pos="833438" algn="l"/>
              </a:tabLst>
            </a:pPr>
            <a:r>
              <a:rPr lang="en-US" sz="2000" b="1" dirty="0">
                <a:solidFill>
                  <a:srgbClr val="DE0A1D"/>
                </a:solidFill>
              </a:rPr>
              <a:t>      Interessent: </a:t>
            </a:r>
            <a:r>
              <a:rPr lang="en-US" sz="2000" i="1" dirty="0">
                <a:solidFill>
                  <a:srgbClr val="595959"/>
                </a:solidFill>
              </a:rPr>
              <a:t>Ich habe gehört, dass Sie keine Rabatte anbieten.</a:t>
            </a:r>
          </a:p>
          <a:p>
            <a:pPr marL="0" indent="0">
              <a:spcBef>
                <a:spcPts val="0"/>
              </a:spcBef>
              <a:buClr>
                <a:srgbClr val="19753C"/>
              </a:buClr>
              <a:buNone/>
              <a:tabLst>
                <a:tab pos="398463" algn="l"/>
                <a:tab pos="574675" algn="l"/>
                <a:tab pos="833438" algn="l"/>
              </a:tabLst>
            </a:pPr>
            <a:endParaRPr lang="en-US" sz="2000" i="1" dirty="0">
              <a:solidFill>
                <a:srgbClr val="595959"/>
              </a:solidFill>
            </a:endParaRPr>
          </a:p>
          <a:p>
            <a:pPr marL="0" indent="0">
              <a:spcBef>
                <a:spcPts val="0"/>
              </a:spcBef>
              <a:buClr>
                <a:srgbClr val="19753C"/>
              </a:buClr>
              <a:buNone/>
              <a:tabLst>
                <a:tab pos="398463" algn="l"/>
                <a:tab pos="574675" algn="l"/>
                <a:tab pos="833438" algn="l"/>
              </a:tabLst>
            </a:pPr>
            <a:r>
              <a:rPr lang="en-US" sz="2000" b="1" dirty="0">
                <a:solidFill>
                  <a:srgbClr val="DE0A1D"/>
                </a:solidFill>
              </a:rPr>
              <a:t>	Sie</a:t>
            </a:r>
            <a:r>
              <a:rPr lang="en-US" sz="2000" dirty="0">
                <a:solidFill>
                  <a:srgbClr val="595959"/>
                </a:solidFill>
              </a:rPr>
              <a:t>: </a:t>
            </a:r>
            <a:r>
              <a:rPr lang="en-US" sz="2000" i="1" dirty="0">
                <a:solidFill>
                  <a:srgbClr val="595959"/>
                </a:solidFill>
              </a:rPr>
              <a:t>Ich kann verstehen, dass Sie das denken, aber wir bieten tatsächlich Mengenrabatte an.</a:t>
            </a:r>
          </a:p>
          <a:p>
            <a:pPr marL="342900" indent="-342900">
              <a:spcBef>
                <a:spcPts val="0"/>
              </a:spcBef>
              <a:buClr>
                <a:srgbClr val="19753C"/>
              </a:buClr>
              <a:tabLst>
                <a:tab pos="398463" algn="l"/>
                <a:tab pos="574675" algn="l"/>
                <a:tab pos="833438" algn="l"/>
              </a:tabLst>
            </a:pPr>
            <a:endParaRPr lang="en-US" sz="2000" dirty="0">
              <a:solidFill>
                <a:srgbClr val="595959"/>
              </a:solidFill>
            </a:endParaRPr>
          </a:p>
          <a:p>
            <a:pPr marL="0" indent="0">
              <a:spcBef>
                <a:spcPts val="0"/>
              </a:spcBef>
              <a:buClr>
                <a:srgbClr val="19753C"/>
              </a:buClr>
              <a:buNone/>
              <a:tabLst>
                <a:tab pos="398463" algn="l"/>
                <a:tab pos="574675" algn="l"/>
                <a:tab pos="833438" algn="l"/>
              </a:tabLst>
            </a:pPr>
            <a:r>
              <a:rPr lang="en-US" sz="2000" dirty="0">
                <a:solidFill>
                  <a:srgbClr val="595959"/>
                </a:solidFill>
              </a:rPr>
              <a:t>Auf diese Weise können Sie dem Kunden sagen, dass er im Unrecht ist, ohne dem Kunden zu sagen, dass er im Unrecht ist, d.h. die Aussage wird diskreditiert und NICHT der Kunde. Dieser Ansatz vermeidet eine Konfrontation und zeigt Empathie, indem er das Anliegen bestätigt.</a:t>
            </a:r>
          </a:p>
        </p:txBody>
      </p:sp>
    </p:spTree>
    <p:extLst>
      <p:ext uri="{BB962C8B-B14F-4D97-AF65-F5344CB8AC3E}">
        <p14:creationId xmlns:p14="http://schemas.microsoft.com/office/powerpoint/2010/main" val="27149482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Technik des Reframings</a:t>
            </a:r>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9069790" y="1662396"/>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9527818" y="2175287"/>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899096" y="1964864"/>
            <a:ext cx="7282377"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0"/>
              </a:spcAft>
              <a:buClrTx/>
              <a:buSzTx/>
              <a:tabLst/>
              <a:defRPr/>
            </a:pPr>
            <a:endParaRPr kumimoji="0" lang="en-US" sz="24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
        <p:nvSpPr>
          <p:cNvPr id="7" name="Google Shape;530;p39">
            <a:extLst>
              <a:ext uri="{FF2B5EF4-FFF2-40B4-BE49-F238E27FC236}">
                <a16:creationId xmlns:a16="http://schemas.microsoft.com/office/drawing/2014/main" id="{04184C7E-E564-5136-01F0-F0F39049A939}"/>
              </a:ext>
            </a:extLst>
          </p:cNvPr>
          <p:cNvSpPr/>
          <p:nvPr/>
        </p:nvSpPr>
        <p:spPr>
          <a:xfrm>
            <a:off x="9225322" y="1817928"/>
            <a:ext cx="604991" cy="604991"/>
          </a:xfrm>
          <a:custGeom>
            <a:avLst/>
            <a:gdLst/>
            <a:ahLst/>
            <a:cxnLst/>
            <a:rect l="l" t="t" r="r" b="b"/>
            <a:pathLst>
              <a:path w="16027" h="16027" fill="none" extrusionOk="0">
                <a:moveTo>
                  <a:pt x="14029" y="4019"/>
                </a:moveTo>
                <a:lnTo>
                  <a:pt x="14029" y="4019"/>
                </a:lnTo>
                <a:lnTo>
                  <a:pt x="14200" y="3849"/>
                </a:lnTo>
                <a:lnTo>
                  <a:pt x="14395" y="3752"/>
                </a:lnTo>
                <a:lnTo>
                  <a:pt x="14614" y="3678"/>
                </a:lnTo>
                <a:lnTo>
                  <a:pt x="14809" y="3630"/>
                </a:lnTo>
                <a:lnTo>
                  <a:pt x="15028" y="3581"/>
                </a:lnTo>
                <a:lnTo>
                  <a:pt x="15247" y="3484"/>
                </a:lnTo>
                <a:lnTo>
                  <a:pt x="15442" y="3362"/>
                </a:lnTo>
                <a:lnTo>
                  <a:pt x="15661" y="3191"/>
                </a:lnTo>
                <a:lnTo>
                  <a:pt x="15661" y="3191"/>
                </a:lnTo>
                <a:lnTo>
                  <a:pt x="15832" y="2997"/>
                </a:lnTo>
                <a:lnTo>
                  <a:pt x="15929" y="2777"/>
                </a:lnTo>
                <a:lnTo>
                  <a:pt x="16002" y="2534"/>
                </a:lnTo>
                <a:lnTo>
                  <a:pt x="16026" y="2266"/>
                </a:lnTo>
                <a:lnTo>
                  <a:pt x="16026" y="2266"/>
                </a:lnTo>
                <a:lnTo>
                  <a:pt x="16002" y="2047"/>
                </a:lnTo>
                <a:lnTo>
                  <a:pt x="15978" y="1827"/>
                </a:lnTo>
                <a:lnTo>
                  <a:pt x="15905" y="1633"/>
                </a:lnTo>
                <a:lnTo>
                  <a:pt x="15807" y="1413"/>
                </a:lnTo>
                <a:lnTo>
                  <a:pt x="15710" y="1243"/>
                </a:lnTo>
                <a:lnTo>
                  <a:pt x="15588" y="1048"/>
                </a:lnTo>
                <a:lnTo>
                  <a:pt x="15466" y="878"/>
                </a:lnTo>
                <a:lnTo>
                  <a:pt x="15320" y="707"/>
                </a:lnTo>
                <a:lnTo>
                  <a:pt x="15320" y="707"/>
                </a:lnTo>
                <a:lnTo>
                  <a:pt x="15150" y="561"/>
                </a:lnTo>
                <a:lnTo>
                  <a:pt x="14979" y="439"/>
                </a:lnTo>
                <a:lnTo>
                  <a:pt x="14784" y="317"/>
                </a:lnTo>
                <a:lnTo>
                  <a:pt x="14590" y="196"/>
                </a:lnTo>
                <a:lnTo>
                  <a:pt x="14395" y="123"/>
                </a:lnTo>
                <a:lnTo>
                  <a:pt x="14175" y="50"/>
                </a:lnTo>
                <a:lnTo>
                  <a:pt x="13981" y="25"/>
                </a:lnTo>
                <a:lnTo>
                  <a:pt x="13761" y="1"/>
                </a:lnTo>
                <a:lnTo>
                  <a:pt x="13761" y="1"/>
                </a:lnTo>
                <a:lnTo>
                  <a:pt x="13494" y="25"/>
                </a:lnTo>
                <a:lnTo>
                  <a:pt x="13250" y="98"/>
                </a:lnTo>
                <a:lnTo>
                  <a:pt x="13031" y="196"/>
                </a:lnTo>
                <a:lnTo>
                  <a:pt x="12836" y="366"/>
                </a:lnTo>
                <a:lnTo>
                  <a:pt x="12836" y="366"/>
                </a:lnTo>
                <a:lnTo>
                  <a:pt x="12665" y="561"/>
                </a:lnTo>
                <a:lnTo>
                  <a:pt x="12544" y="780"/>
                </a:lnTo>
                <a:lnTo>
                  <a:pt x="12471" y="975"/>
                </a:lnTo>
                <a:lnTo>
                  <a:pt x="12422" y="1194"/>
                </a:lnTo>
                <a:lnTo>
                  <a:pt x="12349" y="1413"/>
                </a:lnTo>
                <a:lnTo>
                  <a:pt x="12276" y="1608"/>
                </a:lnTo>
                <a:lnTo>
                  <a:pt x="12178" y="1827"/>
                </a:lnTo>
                <a:lnTo>
                  <a:pt x="12008" y="1998"/>
                </a:lnTo>
                <a:lnTo>
                  <a:pt x="12008" y="1998"/>
                </a:lnTo>
                <a:lnTo>
                  <a:pt x="11740" y="2266"/>
                </a:lnTo>
                <a:lnTo>
                  <a:pt x="11496" y="2436"/>
                </a:lnTo>
                <a:lnTo>
                  <a:pt x="11277" y="2534"/>
                </a:lnTo>
                <a:lnTo>
                  <a:pt x="11082" y="2582"/>
                </a:lnTo>
                <a:lnTo>
                  <a:pt x="10888" y="2582"/>
                </a:lnTo>
                <a:lnTo>
                  <a:pt x="10717" y="2534"/>
                </a:lnTo>
                <a:lnTo>
                  <a:pt x="10547" y="2412"/>
                </a:lnTo>
                <a:lnTo>
                  <a:pt x="10376" y="2290"/>
                </a:lnTo>
                <a:lnTo>
                  <a:pt x="10206" y="2095"/>
                </a:lnTo>
                <a:lnTo>
                  <a:pt x="10035" y="1901"/>
                </a:lnTo>
                <a:lnTo>
                  <a:pt x="9670" y="1413"/>
                </a:lnTo>
                <a:lnTo>
                  <a:pt x="9231" y="878"/>
                </a:lnTo>
                <a:lnTo>
                  <a:pt x="8988" y="585"/>
                </a:lnTo>
                <a:lnTo>
                  <a:pt x="8720" y="293"/>
                </a:lnTo>
                <a:lnTo>
                  <a:pt x="8720" y="293"/>
                </a:lnTo>
                <a:lnTo>
                  <a:pt x="8574" y="171"/>
                </a:lnTo>
                <a:lnTo>
                  <a:pt x="8379" y="74"/>
                </a:lnTo>
                <a:lnTo>
                  <a:pt x="8209" y="25"/>
                </a:lnTo>
                <a:lnTo>
                  <a:pt x="8014" y="1"/>
                </a:lnTo>
                <a:lnTo>
                  <a:pt x="8014" y="1"/>
                </a:lnTo>
                <a:lnTo>
                  <a:pt x="7916" y="25"/>
                </a:lnTo>
                <a:lnTo>
                  <a:pt x="7770" y="98"/>
                </a:lnTo>
                <a:lnTo>
                  <a:pt x="7307" y="366"/>
                </a:lnTo>
                <a:lnTo>
                  <a:pt x="7039" y="537"/>
                </a:lnTo>
                <a:lnTo>
                  <a:pt x="6747" y="756"/>
                </a:lnTo>
                <a:lnTo>
                  <a:pt x="6431" y="975"/>
                </a:lnTo>
                <a:lnTo>
                  <a:pt x="6138" y="1243"/>
                </a:lnTo>
                <a:lnTo>
                  <a:pt x="5870" y="1511"/>
                </a:lnTo>
                <a:lnTo>
                  <a:pt x="5627" y="1803"/>
                </a:lnTo>
                <a:lnTo>
                  <a:pt x="5432" y="2095"/>
                </a:lnTo>
                <a:lnTo>
                  <a:pt x="5359" y="2242"/>
                </a:lnTo>
                <a:lnTo>
                  <a:pt x="5310" y="2412"/>
                </a:lnTo>
                <a:lnTo>
                  <a:pt x="5262" y="2558"/>
                </a:lnTo>
                <a:lnTo>
                  <a:pt x="5237" y="2704"/>
                </a:lnTo>
                <a:lnTo>
                  <a:pt x="5237" y="2850"/>
                </a:lnTo>
                <a:lnTo>
                  <a:pt x="5262" y="3021"/>
                </a:lnTo>
                <a:lnTo>
                  <a:pt x="5310" y="3167"/>
                </a:lnTo>
                <a:lnTo>
                  <a:pt x="5383" y="3313"/>
                </a:lnTo>
                <a:lnTo>
                  <a:pt x="5481" y="3459"/>
                </a:lnTo>
                <a:lnTo>
                  <a:pt x="5603" y="3605"/>
                </a:lnTo>
                <a:lnTo>
                  <a:pt x="5603" y="3605"/>
                </a:lnTo>
                <a:lnTo>
                  <a:pt x="5797" y="3752"/>
                </a:lnTo>
                <a:lnTo>
                  <a:pt x="5992" y="3849"/>
                </a:lnTo>
                <a:lnTo>
                  <a:pt x="6187" y="3946"/>
                </a:lnTo>
                <a:lnTo>
                  <a:pt x="6406" y="3995"/>
                </a:lnTo>
                <a:lnTo>
                  <a:pt x="6625" y="4044"/>
                </a:lnTo>
                <a:lnTo>
                  <a:pt x="6845" y="4141"/>
                </a:lnTo>
                <a:lnTo>
                  <a:pt x="7039" y="4239"/>
                </a:lnTo>
                <a:lnTo>
                  <a:pt x="7234" y="4409"/>
                </a:lnTo>
                <a:lnTo>
                  <a:pt x="7234" y="4409"/>
                </a:lnTo>
                <a:lnTo>
                  <a:pt x="7405" y="4604"/>
                </a:lnTo>
                <a:lnTo>
                  <a:pt x="7502" y="4823"/>
                </a:lnTo>
                <a:lnTo>
                  <a:pt x="7575" y="5067"/>
                </a:lnTo>
                <a:lnTo>
                  <a:pt x="7600" y="5359"/>
                </a:lnTo>
                <a:lnTo>
                  <a:pt x="7600" y="5359"/>
                </a:lnTo>
                <a:lnTo>
                  <a:pt x="7575" y="5554"/>
                </a:lnTo>
                <a:lnTo>
                  <a:pt x="7551" y="5773"/>
                </a:lnTo>
                <a:lnTo>
                  <a:pt x="7478" y="5968"/>
                </a:lnTo>
                <a:lnTo>
                  <a:pt x="7405" y="6163"/>
                </a:lnTo>
                <a:lnTo>
                  <a:pt x="7307" y="6357"/>
                </a:lnTo>
                <a:lnTo>
                  <a:pt x="7186" y="6552"/>
                </a:lnTo>
                <a:lnTo>
                  <a:pt x="7039" y="6723"/>
                </a:lnTo>
                <a:lnTo>
                  <a:pt x="6893" y="6893"/>
                </a:lnTo>
                <a:lnTo>
                  <a:pt x="6893" y="6893"/>
                </a:lnTo>
                <a:lnTo>
                  <a:pt x="6723" y="7039"/>
                </a:lnTo>
                <a:lnTo>
                  <a:pt x="6552" y="7186"/>
                </a:lnTo>
                <a:lnTo>
                  <a:pt x="6382" y="7283"/>
                </a:lnTo>
                <a:lnTo>
                  <a:pt x="6187" y="7405"/>
                </a:lnTo>
                <a:lnTo>
                  <a:pt x="5992" y="7478"/>
                </a:lnTo>
                <a:lnTo>
                  <a:pt x="5773" y="7551"/>
                </a:lnTo>
                <a:lnTo>
                  <a:pt x="5554" y="7575"/>
                </a:lnTo>
                <a:lnTo>
                  <a:pt x="5359" y="7600"/>
                </a:lnTo>
                <a:lnTo>
                  <a:pt x="5359" y="7600"/>
                </a:lnTo>
                <a:lnTo>
                  <a:pt x="5091" y="7575"/>
                </a:lnTo>
                <a:lnTo>
                  <a:pt x="4848" y="7502"/>
                </a:lnTo>
                <a:lnTo>
                  <a:pt x="4604" y="7405"/>
                </a:lnTo>
                <a:lnTo>
                  <a:pt x="4409" y="7234"/>
                </a:lnTo>
                <a:lnTo>
                  <a:pt x="4409" y="7234"/>
                </a:lnTo>
                <a:lnTo>
                  <a:pt x="4239" y="7039"/>
                </a:lnTo>
                <a:lnTo>
                  <a:pt x="4117" y="6820"/>
                </a:lnTo>
                <a:lnTo>
                  <a:pt x="4044" y="6601"/>
                </a:lnTo>
                <a:lnTo>
                  <a:pt x="3971" y="6382"/>
                </a:lnTo>
                <a:lnTo>
                  <a:pt x="3922" y="6187"/>
                </a:lnTo>
                <a:lnTo>
                  <a:pt x="3849" y="5992"/>
                </a:lnTo>
                <a:lnTo>
                  <a:pt x="3752" y="5797"/>
                </a:lnTo>
                <a:lnTo>
                  <a:pt x="3605" y="5602"/>
                </a:lnTo>
                <a:lnTo>
                  <a:pt x="3605" y="5602"/>
                </a:lnTo>
                <a:lnTo>
                  <a:pt x="3459" y="5481"/>
                </a:lnTo>
                <a:lnTo>
                  <a:pt x="3313" y="5383"/>
                </a:lnTo>
                <a:lnTo>
                  <a:pt x="3167" y="5310"/>
                </a:lnTo>
                <a:lnTo>
                  <a:pt x="3021" y="5262"/>
                </a:lnTo>
                <a:lnTo>
                  <a:pt x="2850" y="5237"/>
                </a:lnTo>
                <a:lnTo>
                  <a:pt x="2704" y="5237"/>
                </a:lnTo>
                <a:lnTo>
                  <a:pt x="2558" y="5262"/>
                </a:lnTo>
                <a:lnTo>
                  <a:pt x="2412" y="5310"/>
                </a:lnTo>
                <a:lnTo>
                  <a:pt x="2242" y="5359"/>
                </a:lnTo>
                <a:lnTo>
                  <a:pt x="2095" y="5432"/>
                </a:lnTo>
                <a:lnTo>
                  <a:pt x="1803" y="5627"/>
                </a:lnTo>
                <a:lnTo>
                  <a:pt x="1511" y="5870"/>
                </a:lnTo>
                <a:lnTo>
                  <a:pt x="1243" y="6138"/>
                </a:lnTo>
                <a:lnTo>
                  <a:pt x="975" y="6431"/>
                </a:lnTo>
                <a:lnTo>
                  <a:pt x="756" y="6747"/>
                </a:lnTo>
                <a:lnTo>
                  <a:pt x="537" y="7039"/>
                </a:lnTo>
                <a:lnTo>
                  <a:pt x="366" y="7307"/>
                </a:lnTo>
                <a:lnTo>
                  <a:pt x="98" y="7770"/>
                </a:lnTo>
                <a:lnTo>
                  <a:pt x="25" y="7916"/>
                </a:lnTo>
                <a:lnTo>
                  <a:pt x="1" y="8014"/>
                </a:lnTo>
                <a:lnTo>
                  <a:pt x="1" y="8014"/>
                </a:lnTo>
                <a:lnTo>
                  <a:pt x="25" y="8208"/>
                </a:lnTo>
                <a:lnTo>
                  <a:pt x="74" y="8379"/>
                </a:lnTo>
                <a:lnTo>
                  <a:pt x="171" y="8574"/>
                </a:lnTo>
                <a:lnTo>
                  <a:pt x="293" y="8720"/>
                </a:lnTo>
                <a:lnTo>
                  <a:pt x="293" y="8720"/>
                </a:lnTo>
                <a:lnTo>
                  <a:pt x="585" y="8988"/>
                </a:lnTo>
                <a:lnTo>
                  <a:pt x="878" y="9231"/>
                </a:lnTo>
                <a:lnTo>
                  <a:pt x="1413" y="9670"/>
                </a:lnTo>
                <a:lnTo>
                  <a:pt x="1901" y="10035"/>
                </a:lnTo>
                <a:lnTo>
                  <a:pt x="2095" y="10206"/>
                </a:lnTo>
                <a:lnTo>
                  <a:pt x="2290" y="10376"/>
                </a:lnTo>
                <a:lnTo>
                  <a:pt x="2412" y="10547"/>
                </a:lnTo>
                <a:lnTo>
                  <a:pt x="2534" y="10717"/>
                </a:lnTo>
                <a:lnTo>
                  <a:pt x="2583" y="10888"/>
                </a:lnTo>
                <a:lnTo>
                  <a:pt x="2583" y="11082"/>
                </a:lnTo>
                <a:lnTo>
                  <a:pt x="2534" y="11277"/>
                </a:lnTo>
                <a:lnTo>
                  <a:pt x="2436" y="11496"/>
                </a:lnTo>
                <a:lnTo>
                  <a:pt x="2266" y="11740"/>
                </a:lnTo>
                <a:lnTo>
                  <a:pt x="1998" y="12008"/>
                </a:lnTo>
                <a:lnTo>
                  <a:pt x="1998" y="12008"/>
                </a:lnTo>
                <a:lnTo>
                  <a:pt x="1828" y="12178"/>
                </a:lnTo>
                <a:lnTo>
                  <a:pt x="1633" y="12276"/>
                </a:lnTo>
                <a:lnTo>
                  <a:pt x="1413" y="12349"/>
                </a:lnTo>
                <a:lnTo>
                  <a:pt x="1219" y="12398"/>
                </a:lnTo>
                <a:lnTo>
                  <a:pt x="999" y="12446"/>
                </a:lnTo>
                <a:lnTo>
                  <a:pt x="780" y="12544"/>
                </a:lnTo>
                <a:lnTo>
                  <a:pt x="585" y="12665"/>
                </a:lnTo>
                <a:lnTo>
                  <a:pt x="366" y="12836"/>
                </a:lnTo>
                <a:lnTo>
                  <a:pt x="366" y="12836"/>
                </a:lnTo>
                <a:lnTo>
                  <a:pt x="196" y="13031"/>
                </a:lnTo>
                <a:lnTo>
                  <a:pt x="98" y="13250"/>
                </a:lnTo>
                <a:lnTo>
                  <a:pt x="25" y="13493"/>
                </a:lnTo>
                <a:lnTo>
                  <a:pt x="1" y="13761"/>
                </a:lnTo>
                <a:lnTo>
                  <a:pt x="1" y="13761"/>
                </a:lnTo>
                <a:lnTo>
                  <a:pt x="25" y="13981"/>
                </a:lnTo>
                <a:lnTo>
                  <a:pt x="50" y="14200"/>
                </a:lnTo>
                <a:lnTo>
                  <a:pt x="123" y="14395"/>
                </a:lnTo>
                <a:lnTo>
                  <a:pt x="220" y="14614"/>
                </a:lnTo>
                <a:lnTo>
                  <a:pt x="318" y="14784"/>
                </a:lnTo>
                <a:lnTo>
                  <a:pt x="439" y="14979"/>
                </a:lnTo>
                <a:lnTo>
                  <a:pt x="561" y="15150"/>
                </a:lnTo>
                <a:lnTo>
                  <a:pt x="707" y="15320"/>
                </a:lnTo>
                <a:lnTo>
                  <a:pt x="707" y="15320"/>
                </a:lnTo>
                <a:lnTo>
                  <a:pt x="878" y="15466"/>
                </a:lnTo>
                <a:lnTo>
                  <a:pt x="1048" y="15588"/>
                </a:lnTo>
                <a:lnTo>
                  <a:pt x="1243" y="15710"/>
                </a:lnTo>
                <a:lnTo>
                  <a:pt x="1438" y="15832"/>
                </a:lnTo>
                <a:lnTo>
                  <a:pt x="1633" y="15905"/>
                </a:lnTo>
                <a:lnTo>
                  <a:pt x="1852" y="15978"/>
                </a:lnTo>
                <a:lnTo>
                  <a:pt x="2047" y="16002"/>
                </a:lnTo>
                <a:lnTo>
                  <a:pt x="2266" y="16026"/>
                </a:lnTo>
                <a:lnTo>
                  <a:pt x="2266" y="16026"/>
                </a:lnTo>
                <a:lnTo>
                  <a:pt x="2534" y="16002"/>
                </a:lnTo>
                <a:lnTo>
                  <a:pt x="2777" y="15929"/>
                </a:lnTo>
                <a:lnTo>
                  <a:pt x="2997" y="15832"/>
                </a:lnTo>
                <a:lnTo>
                  <a:pt x="3191" y="15661"/>
                </a:lnTo>
                <a:lnTo>
                  <a:pt x="3191" y="15661"/>
                </a:lnTo>
                <a:lnTo>
                  <a:pt x="3362" y="15466"/>
                </a:lnTo>
                <a:lnTo>
                  <a:pt x="3484" y="15247"/>
                </a:lnTo>
                <a:lnTo>
                  <a:pt x="3557" y="15052"/>
                </a:lnTo>
                <a:lnTo>
                  <a:pt x="3605" y="14833"/>
                </a:lnTo>
                <a:lnTo>
                  <a:pt x="3679" y="14614"/>
                </a:lnTo>
                <a:lnTo>
                  <a:pt x="3752" y="14419"/>
                </a:lnTo>
                <a:lnTo>
                  <a:pt x="3849" y="14200"/>
                </a:lnTo>
                <a:lnTo>
                  <a:pt x="4019" y="14029"/>
                </a:lnTo>
                <a:lnTo>
                  <a:pt x="4019" y="14029"/>
                </a:lnTo>
                <a:lnTo>
                  <a:pt x="4287" y="13786"/>
                </a:lnTo>
                <a:lnTo>
                  <a:pt x="4531" y="13591"/>
                </a:lnTo>
                <a:lnTo>
                  <a:pt x="4750" y="13493"/>
                </a:lnTo>
                <a:lnTo>
                  <a:pt x="4945" y="13445"/>
                </a:lnTo>
                <a:lnTo>
                  <a:pt x="5140" y="13445"/>
                </a:lnTo>
                <a:lnTo>
                  <a:pt x="5310" y="13493"/>
                </a:lnTo>
                <a:lnTo>
                  <a:pt x="5481" y="13615"/>
                </a:lnTo>
                <a:lnTo>
                  <a:pt x="5651" y="13737"/>
                </a:lnTo>
                <a:lnTo>
                  <a:pt x="5822" y="13932"/>
                </a:lnTo>
                <a:lnTo>
                  <a:pt x="5992" y="14127"/>
                </a:lnTo>
                <a:lnTo>
                  <a:pt x="6358" y="14614"/>
                </a:lnTo>
                <a:lnTo>
                  <a:pt x="6796" y="15150"/>
                </a:lnTo>
                <a:lnTo>
                  <a:pt x="7039" y="15442"/>
                </a:lnTo>
                <a:lnTo>
                  <a:pt x="7307" y="15734"/>
                </a:lnTo>
                <a:lnTo>
                  <a:pt x="7307" y="15734"/>
                </a:lnTo>
                <a:lnTo>
                  <a:pt x="7454" y="15856"/>
                </a:lnTo>
                <a:lnTo>
                  <a:pt x="7648" y="15953"/>
                </a:lnTo>
                <a:lnTo>
                  <a:pt x="7819" y="16002"/>
                </a:lnTo>
                <a:lnTo>
                  <a:pt x="8014" y="16026"/>
                </a:lnTo>
                <a:lnTo>
                  <a:pt x="8014" y="16026"/>
                </a:lnTo>
                <a:lnTo>
                  <a:pt x="8111" y="16002"/>
                </a:lnTo>
                <a:lnTo>
                  <a:pt x="8257" y="15929"/>
                </a:lnTo>
                <a:lnTo>
                  <a:pt x="8720" y="15661"/>
                </a:lnTo>
                <a:lnTo>
                  <a:pt x="8988" y="15491"/>
                </a:lnTo>
                <a:lnTo>
                  <a:pt x="9280" y="15271"/>
                </a:lnTo>
                <a:lnTo>
                  <a:pt x="9597" y="15052"/>
                </a:lnTo>
                <a:lnTo>
                  <a:pt x="9889" y="14784"/>
                </a:lnTo>
                <a:lnTo>
                  <a:pt x="10157" y="14516"/>
                </a:lnTo>
                <a:lnTo>
                  <a:pt x="10400" y="14224"/>
                </a:lnTo>
                <a:lnTo>
                  <a:pt x="10595" y="13932"/>
                </a:lnTo>
                <a:lnTo>
                  <a:pt x="10668" y="13786"/>
                </a:lnTo>
                <a:lnTo>
                  <a:pt x="10717" y="13615"/>
                </a:lnTo>
                <a:lnTo>
                  <a:pt x="10766" y="13469"/>
                </a:lnTo>
                <a:lnTo>
                  <a:pt x="10790" y="13323"/>
                </a:lnTo>
                <a:lnTo>
                  <a:pt x="10790" y="13177"/>
                </a:lnTo>
                <a:lnTo>
                  <a:pt x="10766" y="13006"/>
                </a:lnTo>
                <a:lnTo>
                  <a:pt x="10717" y="12860"/>
                </a:lnTo>
                <a:lnTo>
                  <a:pt x="10644" y="12714"/>
                </a:lnTo>
                <a:lnTo>
                  <a:pt x="10547" y="12568"/>
                </a:lnTo>
                <a:lnTo>
                  <a:pt x="10425" y="12422"/>
                </a:lnTo>
                <a:lnTo>
                  <a:pt x="10425" y="12422"/>
                </a:lnTo>
                <a:lnTo>
                  <a:pt x="10230" y="12276"/>
                </a:lnTo>
                <a:lnTo>
                  <a:pt x="10035" y="12178"/>
                </a:lnTo>
                <a:lnTo>
                  <a:pt x="9840" y="12105"/>
                </a:lnTo>
                <a:lnTo>
                  <a:pt x="9621" y="12032"/>
                </a:lnTo>
                <a:lnTo>
                  <a:pt x="9402" y="11983"/>
                </a:lnTo>
                <a:lnTo>
                  <a:pt x="9183" y="11886"/>
                </a:lnTo>
                <a:lnTo>
                  <a:pt x="8988" y="11789"/>
                </a:lnTo>
                <a:lnTo>
                  <a:pt x="8793" y="11618"/>
                </a:lnTo>
                <a:lnTo>
                  <a:pt x="8793" y="11618"/>
                </a:lnTo>
                <a:lnTo>
                  <a:pt x="8623" y="11423"/>
                </a:lnTo>
                <a:lnTo>
                  <a:pt x="8525" y="11204"/>
                </a:lnTo>
                <a:lnTo>
                  <a:pt x="8452" y="10961"/>
                </a:lnTo>
                <a:lnTo>
                  <a:pt x="8428" y="10668"/>
                </a:lnTo>
                <a:lnTo>
                  <a:pt x="8428" y="10668"/>
                </a:lnTo>
                <a:lnTo>
                  <a:pt x="8452" y="10473"/>
                </a:lnTo>
                <a:lnTo>
                  <a:pt x="8476" y="10254"/>
                </a:lnTo>
                <a:lnTo>
                  <a:pt x="8549" y="10059"/>
                </a:lnTo>
                <a:lnTo>
                  <a:pt x="8623" y="9865"/>
                </a:lnTo>
                <a:lnTo>
                  <a:pt x="8720" y="9670"/>
                </a:lnTo>
                <a:lnTo>
                  <a:pt x="8842" y="9475"/>
                </a:lnTo>
                <a:lnTo>
                  <a:pt x="8988" y="9304"/>
                </a:lnTo>
                <a:lnTo>
                  <a:pt x="9134" y="9134"/>
                </a:lnTo>
                <a:lnTo>
                  <a:pt x="9134" y="9134"/>
                </a:lnTo>
                <a:lnTo>
                  <a:pt x="9304" y="8988"/>
                </a:lnTo>
                <a:lnTo>
                  <a:pt x="9475" y="8866"/>
                </a:lnTo>
                <a:lnTo>
                  <a:pt x="9645" y="8744"/>
                </a:lnTo>
                <a:lnTo>
                  <a:pt x="9840" y="8622"/>
                </a:lnTo>
                <a:lnTo>
                  <a:pt x="10035" y="8549"/>
                </a:lnTo>
                <a:lnTo>
                  <a:pt x="10254" y="8476"/>
                </a:lnTo>
                <a:lnTo>
                  <a:pt x="10474" y="8452"/>
                </a:lnTo>
                <a:lnTo>
                  <a:pt x="10668" y="8428"/>
                </a:lnTo>
                <a:lnTo>
                  <a:pt x="10668" y="8428"/>
                </a:lnTo>
                <a:lnTo>
                  <a:pt x="10936" y="8452"/>
                </a:lnTo>
                <a:lnTo>
                  <a:pt x="11180" y="8525"/>
                </a:lnTo>
                <a:lnTo>
                  <a:pt x="11423" y="8622"/>
                </a:lnTo>
                <a:lnTo>
                  <a:pt x="11618" y="8793"/>
                </a:lnTo>
                <a:lnTo>
                  <a:pt x="11618" y="8793"/>
                </a:lnTo>
                <a:lnTo>
                  <a:pt x="11789" y="8988"/>
                </a:lnTo>
                <a:lnTo>
                  <a:pt x="11910" y="9207"/>
                </a:lnTo>
                <a:lnTo>
                  <a:pt x="11984" y="9426"/>
                </a:lnTo>
                <a:lnTo>
                  <a:pt x="12057" y="9645"/>
                </a:lnTo>
                <a:lnTo>
                  <a:pt x="12105" y="9840"/>
                </a:lnTo>
                <a:lnTo>
                  <a:pt x="12178" y="10035"/>
                </a:lnTo>
                <a:lnTo>
                  <a:pt x="12276" y="10230"/>
                </a:lnTo>
                <a:lnTo>
                  <a:pt x="12422" y="10425"/>
                </a:lnTo>
                <a:lnTo>
                  <a:pt x="12422" y="10425"/>
                </a:lnTo>
                <a:lnTo>
                  <a:pt x="12568" y="10547"/>
                </a:lnTo>
                <a:lnTo>
                  <a:pt x="12714" y="10644"/>
                </a:lnTo>
                <a:lnTo>
                  <a:pt x="12860" y="10717"/>
                </a:lnTo>
                <a:lnTo>
                  <a:pt x="13006" y="10766"/>
                </a:lnTo>
                <a:lnTo>
                  <a:pt x="13177" y="10790"/>
                </a:lnTo>
                <a:lnTo>
                  <a:pt x="13323" y="10790"/>
                </a:lnTo>
                <a:lnTo>
                  <a:pt x="13469" y="10766"/>
                </a:lnTo>
                <a:lnTo>
                  <a:pt x="13615" y="10717"/>
                </a:lnTo>
                <a:lnTo>
                  <a:pt x="13786" y="10668"/>
                </a:lnTo>
                <a:lnTo>
                  <a:pt x="13932" y="10595"/>
                </a:lnTo>
                <a:lnTo>
                  <a:pt x="14224" y="10400"/>
                </a:lnTo>
                <a:lnTo>
                  <a:pt x="14516" y="10157"/>
                </a:lnTo>
                <a:lnTo>
                  <a:pt x="14784" y="9889"/>
                </a:lnTo>
                <a:lnTo>
                  <a:pt x="15052" y="9597"/>
                </a:lnTo>
                <a:lnTo>
                  <a:pt x="15271" y="9280"/>
                </a:lnTo>
                <a:lnTo>
                  <a:pt x="15491" y="8988"/>
                </a:lnTo>
                <a:lnTo>
                  <a:pt x="15661" y="8720"/>
                </a:lnTo>
                <a:lnTo>
                  <a:pt x="15929" y="8257"/>
                </a:lnTo>
                <a:lnTo>
                  <a:pt x="16002" y="8111"/>
                </a:lnTo>
                <a:lnTo>
                  <a:pt x="16026" y="8014"/>
                </a:lnTo>
                <a:lnTo>
                  <a:pt x="16026" y="8014"/>
                </a:lnTo>
                <a:lnTo>
                  <a:pt x="16002" y="7819"/>
                </a:lnTo>
                <a:lnTo>
                  <a:pt x="15953" y="7648"/>
                </a:lnTo>
                <a:lnTo>
                  <a:pt x="15856" y="7453"/>
                </a:lnTo>
                <a:lnTo>
                  <a:pt x="15734" y="7307"/>
                </a:lnTo>
                <a:lnTo>
                  <a:pt x="15734" y="7307"/>
                </a:lnTo>
                <a:lnTo>
                  <a:pt x="15442" y="7039"/>
                </a:lnTo>
                <a:lnTo>
                  <a:pt x="15150" y="6796"/>
                </a:lnTo>
                <a:lnTo>
                  <a:pt x="14614" y="6357"/>
                </a:lnTo>
                <a:lnTo>
                  <a:pt x="14127" y="5992"/>
                </a:lnTo>
                <a:lnTo>
                  <a:pt x="13932" y="5822"/>
                </a:lnTo>
                <a:lnTo>
                  <a:pt x="13737" y="5651"/>
                </a:lnTo>
                <a:lnTo>
                  <a:pt x="13615" y="5481"/>
                </a:lnTo>
                <a:lnTo>
                  <a:pt x="13494" y="5310"/>
                </a:lnTo>
                <a:lnTo>
                  <a:pt x="13445" y="5140"/>
                </a:lnTo>
                <a:lnTo>
                  <a:pt x="13445" y="4945"/>
                </a:lnTo>
                <a:lnTo>
                  <a:pt x="13494" y="4750"/>
                </a:lnTo>
                <a:lnTo>
                  <a:pt x="13591" y="4531"/>
                </a:lnTo>
                <a:lnTo>
                  <a:pt x="13761" y="4287"/>
                </a:lnTo>
                <a:lnTo>
                  <a:pt x="14029" y="4019"/>
                </a:lnTo>
                <a:lnTo>
                  <a:pt x="14029" y="4019"/>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Text Placeholder 6">
            <a:extLst>
              <a:ext uri="{FF2B5EF4-FFF2-40B4-BE49-F238E27FC236}">
                <a16:creationId xmlns:a16="http://schemas.microsoft.com/office/drawing/2014/main" id="{22E39D54-B4A6-FB31-DAEA-60901A66F6D6}"/>
              </a:ext>
            </a:extLst>
          </p:cNvPr>
          <p:cNvSpPr txBox="1">
            <a:spLocks/>
          </p:cNvSpPr>
          <p:nvPr/>
        </p:nvSpPr>
        <p:spPr>
          <a:xfrm>
            <a:off x="643577" y="1553327"/>
            <a:ext cx="8581745" cy="56521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rgbClr val="DE0A1D"/>
              </a:buClr>
              <a:buNone/>
              <a:tabLst>
                <a:tab pos="398463" algn="l"/>
                <a:tab pos="657225" algn="l"/>
              </a:tabLst>
            </a:pPr>
            <a:r>
              <a:rPr lang="en-US" sz="2000" dirty="0">
                <a:solidFill>
                  <a:srgbClr val="595959"/>
                </a:solidFill>
              </a:rPr>
              <a:t>Umformulieren Sie den Einwand so, dass Sie das Gespräch in eine positive Richtung lenken und mit Ihrer Verkaufspräsentation fortfahren.</a:t>
            </a:r>
          </a:p>
          <a:p>
            <a:pPr marL="0" indent="0">
              <a:spcBef>
                <a:spcPts val="0"/>
              </a:spcBef>
              <a:buClr>
                <a:srgbClr val="EC2179"/>
              </a:buClr>
              <a:buNone/>
              <a:tabLst>
                <a:tab pos="398463" algn="l"/>
                <a:tab pos="657225" algn="l"/>
              </a:tabLst>
            </a:pPr>
            <a:endParaRPr lang="en-US" sz="1200" dirty="0">
              <a:solidFill>
                <a:srgbClr val="595959"/>
              </a:solidFill>
            </a:endParaRPr>
          </a:p>
          <a:p>
            <a:pPr marL="0" indent="0">
              <a:spcBef>
                <a:spcPts val="0"/>
              </a:spcBef>
              <a:buClr>
                <a:srgbClr val="EC2179"/>
              </a:buClr>
              <a:buNone/>
              <a:tabLst>
                <a:tab pos="398463" algn="l"/>
                <a:tab pos="657225" algn="l"/>
              </a:tabLst>
            </a:pPr>
            <a:r>
              <a:rPr lang="en-US" sz="2000" dirty="0">
                <a:solidFill>
                  <a:srgbClr val="DE0A1D"/>
                </a:solidFill>
              </a:rPr>
              <a:t>Aussichten</a:t>
            </a:r>
            <a:r>
              <a:rPr lang="en-US" sz="2000" dirty="0">
                <a:solidFill>
                  <a:srgbClr val="595959"/>
                </a:solidFill>
              </a:rPr>
              <a:t>: </a:t>
            </a:r>
            <a:r>
              <a:rPr lang="en-US" sz="2000" i="1" dirty="0">
                <a:solidFill>
                  <a:srgbClr val="595959"/>
                </a:solidFill>
              </a:rPr>
              <a:t>Ich muss nicht noch mehr Geld für geschäftliche Unterstützung/Buchhaltung ausgeben, wir geben schon genug für Verwaltungskosten aus.</a:t>
            </a:r>
          </a:p>
          <a:p>
            <a:pPr marL="0" indent="0">
              <a:spcBef>
                <a:spcPts val="0"/>
              </a:spcBef>
              <a:buClr>
                <a:srgbClr val="EC2179"/>
              </a:buClr>
              <a:buNone/>
              <a:tabLst>
                <a:tab pos="398463" algn="l"/>
                <a:tab pos="657225" algn="l"/>
              </a:tabLst>
            </a:pPr>
            <a:endParaRPr lang="en-US" sz="1100" dirty="0">
              <a:solidFill>
                <a:srgbClr val="595959"/>
              </a:solidFill>
            </a:endParaRPr>
          </a:p>
          <a:p>
            <a:pPr marL="0" indent="0">
              <a:spcBef>
                <a:spcPts val="0"/>
              </a:spcBef>
              <a:buClr>
                <a:srgbClr val="EC2179"/>
              </a:buClr>
              <a:buNone/>
              <a:tabLst>
                <a:tab pos="398463" algn="l"/>
                <a:tab pos="657225" algn="l"/>
              </a:tabLst>
            </a:pPr>
            <a:r>
              <a:rPr lang="en-US" sz="2000" dirty="0">
                <a:solidFill>
                  <a:srgbClr val="DE0A1D"/>
                </a:solidFill>
              </a:rPr>
              <a:t>Sie</a:t>
            </a:r>
            <a:r>
              <a:rPr lang="en-US" sz="2000" dirty="0">
                <a:solidFill>
                  <a:srgbClr val="595959"/>
                </a:solidFill>
              </a:rPr>
              <a:t>: </a:t>
            </a:r>
            <a:r>
              <a:rPr lang="en-US" sz="2000" i="1" dirty="0">
                <a:solidFill>
                  <a:srgbClr val="595959"/>
                </a:solidFill>
              </a:rPr>
              <a:t>Genau das ist der Grund, warum Sie in unsere Lösungen investieren sollten, damit Sie Geld sparen können, indem Sie Ihre gesamte Verwaltung in einem erschwinglichen und effizienten Dienst zusammenfassen. </a:t>
            </a:r>
          </a:p>
          <a:p>
            <a:pPr marL="0" indent="0">
              <a:spcBef>
                <a:spcPts val="0"/>
              </a:spcBef>
              <a:buClr>
                <a:srgbClr val="EC2179"/>
              </a:buClr>
              <a:buNone/>
              <a:tabLst>
                <a:tab pos="398463" algn="l"/>
                <a:tab pos="657225" algn="l"/>
              </a:tabLst>
            </a:pPr>
            <a:endParaRPr lang="en-US" sz="800" dirty="0">
              <a:solidFill>
                <a:srgbClr val="595959"/>
              </a:solidFill>
            </a:endParaRPr>
          </a:p>
          <a:p>
            <a:pPr marL="0" indent="0" algn="ctr">
              <a:spcBef>
                <a:spcPts val="0"/>
              </a:spcBef>
              <a:buClr>
                <a:srgbClr val="EC2179"/>
              </a:buClr>
              <a:buNone/>
              <a:tabLst>
                <a:tab pos="398463" algn="l"/>
                <a:tab pos="657225" algn="l"/>
              </a:tabLst>
            </a:pPr>
            <a:r>
              <a:rPr lang="en-US" sz="2000" dirty="0">
                <a:solidFill>
                  <a:srgbClr val="595959"/>
                </a:solidFill>
              </a:rPr>
              <a:t>	Sie können ein Ziel in ein Kaufmotiv umwandeln. Das hilft Ihrem potenziellen Kunden, über einen Kauf in einer ganz anderen Dimension nachzudenken. </a:t>
            </a:r>
          </a:p>
        </p:txBody>
      </p:sp>
    </p:spTree>
    <p:extLst>
      <p:ext uri="{BB962C8B-B14F-4D97-AF65-F5344CB8AC3E}">
        <p14:creationId xmlns:p14="http://schemas.microsoft.com/office/powerpoint/2010/main" val="40630903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Technik der Rechtfertigung</a:t>
            </a:r>
          </a:p>
        </p:txBody>
      </p:sp>
      <p:sp>
        <p:nvSpPr>
          <p:cNvPr id="3" name="Oval 2">
            <a:extLst>
              <a:ext uri="{FF2B5EF4-FFF2-40B4-BE49-F238E27FC236}">
                <a16:creationId xmlns:a16="http://schemas.microsoft.com/office/drawing/2014/main" id="{1E44C1FD-7676-3D5C-1BA7-C2628947D62A}"/>
              </a:ext>
            </a:extLst>
          </p:cNvPr>
          <p:cNvSpPr/>
          <p:nvPr/>
        </p:nvSpPr>
        <p:spPr>
          <a:xfrm>
            <a:off x="9240314" y="1624867"/>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9708778" y="2175938"/>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463378" y="1624867"/>
            <a:ext cx="8816318"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buClr>
                <a:srgbClr val="DE0A1D"/>
              </a:buClr>
              <a:tabLst>
                <a:tab pos="398463" algn="l"/>
                <a:tab pos="611188" algn="l"/>
              </a:tabLst>
            </a:pPr>
            <a:r>
              <a:rPr lang="en-US" sz="2000" dirty="0"/>
              <a:t>Begründen Sie, warum der Einwand vernünftig ist, anstatt ihn zu bekämpfen</a:t>
            </a:r>
          </a:p>
          <a:p>
            <a:pPr>
              <a:lnSpc>
                <a:spcPct val="100000"/>
              </a:lnSpc>
              <a:spcBef>
                <a:spcPts val="0"/>
              </a:spcBef>
              <a:buClr>
                <a:srgbClr val="DACA3C"/>
              </a:buClr>
              <a:tabLst>
                <a:tab pos="398463" algn="l"/>
                <a:tab pos="611188" algn="l"/>
              </a:tabLst>
            </a:pPr>
            <a:endParaRPr lang="en-US" sz="1050" dirty="0"/>
          </a:p>
          <a:p>
            <a:pPr>
              <a:lnSpc>
                <a:spcPct val="100000"/>
              </a:lnSpc>
              <a:spcBef>
                <a:spcPts val="0"/>
              </a:spcBef>
              <a:buClr>
                <a:srgbClr val="DACA3C"/>
              </a:buClr>
              <a:tabLst>
                <a:tab pos="398463" algn="l"/>
                <a:tab pos="611188" algn="l"/>
              </a:tabLst>
            </a:pPr>
            <a:r>
              <a:rPr lang="en-US" sz="2000" b="1" dirty="0">
                <a:solidFill>
                  <a:srgbClr val="DE0A1D"/>
                </a:solidFill>
              </a:rPr>
              <a:t>	Aussichten: </a:t>
            </a:r>
            <a:r>
              <a:rPr lang="en-US" sz="2000" i="1" dirty="0"/>
              <a:t>Diese Produkte sind sehr teuer</a:t>
            </a:r>
          </a:p>
          <a:p>
            <a:pPr>
              <a:lnSpc>
                <a:spcPct val="100000"/>
              </a:lnSpc>
              <a:spcBef>
                <a:spcPts val="0"/>
              </a:spcBef>
              <a:buClr>
                <a:srgbClr val="DACA3C"/>
              </a:buClr>
              <a:tabLst>
                <a:tab pos="398463" algn="l"/>
                <a:tab pos="611188" algn="l"/>
              </a:tabLst>
            </a:pPr>
            <a:endParaRPr lang="en-US" sz="1000" i="1" dirty="0"/>
          </a:p>
          <a:p>
            <a:pPr marL="447675" indent="-447675">
              <a:lnSpc>
                <a:spcPct val="100000"/>
              </a:lnSpc>
              <a:spcBef>
                <a:spcPts val="0"/>
              </a:spcBef>
              <a:buClr>
                <a:srgbClr val="DACA3C"/>
              </a:buClr>
              <a:tabLst>
                <a:tab pos="398463" algn="l"/>
                <a:tab pos="611188" algn="l"/>
              </a:tabLst>
            </a:pPr>
            <a:r>
              <a:rPr lang="en-US" sz="2000" b="1" dirty="0">
                <a:solidFill>
                  <a:srgbClr val="DE0A1D"/>
                </a:solidFill>
              </a:rPr>
              <a:t>	Sie: </a:t>
            </a:r>
            <a:r>
              <a:rPr lang="en-US" sz="2000" i="1" dirty="0"/>
              <a:t>Ja, es mag auf den ersten Blick teurer erscheinen</a:t>
            </a:r>
            <a:r>
              <a:rPr lang="en-GB" sz="2000" i="1" dirty="0"/>
              <a:t>, aber unsere Produkte halten 30 % länger als die Ihres derzeitigen Anbieters, </a:t>
            </a:r>
            <a:r>
              <a:rPr lang="en-US" sz="2000" i="1" dirty="0"/>
              <a:t>so dass Sie auf lange Sicht tatsächlich Geld bei Ihrer jährlichen Rechnung sparen, weil Sie weniger verbrauchen - das ist gut für Ihren Geldbeutel UND die Umwelt. </a:t>
            </a:r>
            <a:endParaRPr lang="en-US" sz="2000" dirty="0"/>
          </a:p>
          <a:p>
            <a:pPr>
              <a:lnSpc>
                <a:spcPct val="100000"/>
              </a:lnSpc>
              <a:spcBef>
                <a:spcPts val="0"/>
              </a:spcBef>
              <a:buClr>
                <a:srgbClr val="DACA3C"/>
              </a:buClr>
              <a:tabLst>
                <a:tab pos="398463" algn="l"/>
                <a:tab pos="611188" algn="l"/>
              </a:tabLst>
            </a:pPr>
            <a:endParaRPr lang="en-US" sz="2000" dirty="0"/>
          </a:p>
          <a:p>
            <a:pPr algn="ctr">
              <a:lnSpc>
                <a:spcPct val="100000"/>
              </a:lnSpc>
              <a:spcBef>
                <a:spcPts val="0"/>
              </a:spcBef>
              <a:buClr>
                <a:srgbClr val="DACA3C"/>
              </a:buClr>
              <a:tabLst>
                <a:tab pos="398463" algn="l"/>
                <a:tab pos="611188" algn="l"/>
              </a:tabLst>
            </a:pPr>
            <a:r>
              <a:rPr lang="en-US" sz="2000" dirty="0">
                <a:solidFill>
                  <a:srgbClr val="595959"/>
                </a:solidFill>
              </a:rPr>
              <a:t>Diese Technik </a:t>
            </a:r>
            <a:r>
              <a:rPr lang="en-US" sz="2000" dirty="0"/>
              <a:t>ermöglicht es Ihnen, sich auf Qualität und Preis zu konzentrieren, anstatt nur auf den Preis. Betonen Sie Ihren Erfahrungsschatz und die Produktvorteile. Stützen Sie sich auf Empfehlungen und Zeugnisse, um den Preiseinwand zu entkräften.</a:t>
            </a:r>
          </a:p>
          <a:p>
            <a:pPr>
              <a:spcBef>
                <a:spcPts val="0"/>
              </a:spcBef>
              <a:buClr>
                <a:srgbClr val="DACA3C"/>
              </a:buClr>
              <a:tabLst>
                <a:tab pos="398463" algn="l"/>
                <a:tab pos="611188" algn="l"/>
              </a:tabLst>
            </a:pPr>
            <a:endParaRPr lang="en-US" sz="1600" dirty="0"/>
          </a:p>
          <a:p>
            <a:pPr marR="0" lvl="0" algn="l" defTabSz="914400" rtl="0" eaLnBrk="1" fontAlgn="auto" latinLnBrk="0" hangingPunct="1">
              <a:lnSpc>
                <a:spcPct val="90000"/>
              </a:lnSpc>
              <a:spcBef>
                <a:spcPts val="1000"/>
              </a:spcBef>
              <a:spcAft>
                <a:spcPts val="0"/>
              </a:spcAft>
              <a:buClrTx/>
              <a:buSzTx/>
              <a:tabLst/>
              <a:defRPr/>
            </a:pPr>
            <a:endParaRPr kumimoji="0" lang="en-US" sz="20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grpSp>
        <p:nvGrpSpPr>
          <p:cNvPr id="7" name="Google Shape;612;p39">
            <a:extLst>
              <a:ext uri="{FF2B5EF4-FFF2-40B4-BE49-F238E27FC236}">
                <a16:creationId xmlns:a16="http://schemas.microsoft.com/office/drawing/2014/main" id="{099B1C97-C001-9D88-5926-FF1F362A853F}"/>
              </a:ext>
            </a:extLst>
          </p:cNvPr>
          <p:cNvGrpSpPr/>
          <p:nvPr/>
        </p:nvGrpSpPr>
        <p:grpSpPr>
          <a:xfrm>
            <a:off x="9402480" y="1814265"/>
            <a:ext cx="591724" cy="604125"/>
            <a:chOff x="3951850" y="2985350"/>
            <a:chExt cx="407950" cy="416500"/>
          </a:xfrm>
        </p:grpSpPr>
        <p:sp>
          <p:nvSpPr>
            <p:cNvPr id="8" name="Google Shape;613;p39">
              <a:extLst>
                <a:ext uri="{FF2B5EF4-FFF2-40B4-BE49-F238E27FC236}">
                  <a16:creationId xmlns:a16="http://schemas.microsoft.com/office/drawing/2014/main" id="{7B607C5F-F5AC-EF67-3982-E0236FB334AD}"/>
                </a:ext>
              </a:extLst>
            </p:cNvPr>
            <p:cNvSpPr/>
            <p:nvPr/>
          </p:nvSpPr>
          <p:spPr>
            <a:xfrm>
              <a:off x="3951850" y="2985350"/>
              <a:ext cx="314800" cy="314825"/>
            </a:xfrm>
            <a:custGeom>
              <a:avLst/>
              <a:gdLst/>
              <a:ahLst/>
              <a:cxnLst/>
              <a:rect l="l" t="t" r="r" b="b"/>
              <a:pathLst>
                <a:path w="12592" h="12593" fill="none" extrusionOk="0">
                  <a:moveTo>
                    <a:pt x="6284" y="1"/>
                  </a:moveTo>
                  <a:lnTo>
                    <a:pt x="6284" y="1"/>
                  </a:lnTo>
                  <a:lnTo>
                    <a:pt x="5967" y="25"/>
                  </a:lnTo>
                  <a:lnTo>
                    <a:pt x="5651" y="49"/>
                  </a:lnTo>
                  <a:lnTo>
                    <a:pt x="5334" y="74"/>
                  </a:lnTo>
                  <a:lnTo>
                    <a:pt x="5017" y="147"/>
                  </a:lnTo>
                  <a:lnTo>
                    <a:pt x="4725" y="220"/>
                  </a:lnTo>
                  <a:lnTo>
                    <a:pt x="4433" y="293"/>
                  </a:lnTo>
                  <a:lnTo>
                    <a:pt x="4141" y="390"/>
                  </a:lnTo>
                  <a:lnTo>
                    <a:pt x="3848" y="512"/>
                  </a:lnTo>
                  <a:lnTo>
                    <a:pt x="3556" y="634"/>
                  </a:lnTo>
                  <a:lnTo>
                    <a:pt x="3288" y="780"/>
                  </a:lnTo>
                  <a:lnTo>
                    <a:pt x="3020" y="926"/>
                  </a:lnTo>
                  <a:lnTo>
                    <a:pt x="2777" y="1072"/>
                  </a:lnTo>
                  <a:lnTo>
                    <a:pt x="2290" y="1437"/>
                  </a:lnTo>
                  <a:lnTo>
                    <a:pt x="1851" y="1852"/>
                  </a:lnTo>
                  <a:lnTo>
                    <a:pt x="1437" y="2290"/>
                  </a:lnTo>
                  <a:lnTo>
                    <a:pt x="1072" y="2777"/>
                  </a:lnTo>
                  <a:lnTo>
                    <a:pt x="901" y="3045"/>
                  </a:lnTo>
                  <a:lnTo>
                    <a:pt x="755" y="3313"/>
                  </a:lnTo>
                  <a:lnTo>
                    <a:pt x="609" y="3581"/>
                  </a:lnTo>
                  <a:lnTo>
                    <a:pt x="487" y="3849"/>
                  </a:lnTo>
                  <a:lnTo>
                    <a:pt x="390" y="4141"/>
                  </a:lnTo>
                  <a:lnTo>
                    <a:pt x="292" y="4433"/>
                  </a:lnTo>
                  <a:lnTo>
                    <a:pt x="195" y="4725"/>
                  </a:lnTo>
                  <a:lnTo>
                    <a:pt x="122" y="5042"/>
                  </a:lnTo>
                  <a:lnTo>
                    <a:pt x="73" y="5334"/>
                  </a:lnTo>
                  <a:lnTo>
                    <a:pt x="25" y="5651"/>
                  </a:lnTo>
                  <a:lnTo>
                    <a:pt x="0" y="5968"/>
                  </a:lnTo>
                  <a:lnTo>
                    <a:pt x="0" y="6308"/>
                  </a:lnTo>
                  <a:lnTo>
                    <a:pt x="0" y="6308"/>
                  </a:lnTo>
                  <a:lnTo>
                    <a:pt x="0" y="6625"/>
                  </a:lnTo>
                  <a:lnTo>
                    <a:pt x="25" y="6942"/>
                  </a:lnTo>
                  <a:lnTo>
                    <a:pt x="73" y="7258"/>
                  </a:lnTo>
                  <a:lnTo>
                    <a:pt x="122" y="7575"/>
                  </a:lnTo>
                  <a:lnTo>
                    <a:pt x="195" y="7867"/>
                  </a:lnTo>
                  <a:lnTo>
                    <a:pt x="292" y="8184"/>
                  </a:lnTo>
                  <a:lnTo>
                    <a:pt x="390" y="8476"/>
                  </a:lnTo>
                  <a:lnTo>
                    <a:pt x="487" y="8744"/>
                  </a:lnTo>
                  <a:lnTo>
                    <a:pt x="609" y="9036"/>
                  </a:lnTo>
                  <a:lnTo>
                    <a:pt x="755" y="9304"/>
                  </a:lnTo>
                  <a:lnTo>
                    <a:pt x="901" y="9572"/>
                  </a:lnTo>
                  <a:lnTo>
                    <a:pt x="1072" y="9816"/>
                  </a:lnTo>
                  <a:lnTo>
                    <a:pt x="1437" y="10303"/>
                  </a:lnTo>
                  <a:lnTo>
                    <a:pt x="1851" y="10741"/>
                  </a:lnTo>
                  <a:lnTo>
                    <a:pt x="2290" y="11155"/>
                  </a:lnTo>
                  <a:lnTo>
                    <a:pt x="2777" y="11520"/>
                  </a:lnTo>
                  <a:lnTo>
                    <a:pt x="3020" y="11691"/>
                  </a:lnTo>
                  <a:lnTo>
                    <a:pt x="3288" y="11837"/>
                  </a:lnTo>
                  <a:lnTo>
                    <a:pt x="3556" y="11983"/>
                  </a:lnTo>
                  <a:lnTo>
                    <a:pt x="3848" y="12105"/>
                  </a:lnTo>
                  <a:lnTo>
                    <a:pt x="4141" y="12202"/>
                  </a:lnTo>
                  <a:lnTo>
                    <a:pt x="4433" y="12300"/>
                  </a:lnTo>
                  <a:lnTo>
                    <a:pt x="4725" y="12397"/>
                  </a:lnTo>
                  <a:lnTo>
                    <a:pt x="5017" y="12470"/>
                  </a:lnTo>
                  <a:lnTo>
                    <a:pt x="5334" y="12519"/>
                  </a:lnTo>
                  <a:lnTo>
                    <a:pt x="5651" y="12568"/>
                  </a:lnTo>
                  <a:lnTo>
                    <a:pt x="5967" y="12592"/>
                  </a:lnTo>
                  <a:lnTo>
                    <a:pt x="6284" y="12592"/>
                  </a:lnTo>
                  <a:lnTo>
                    <a:pt x="6284" y="12592"/>
                  </a:lnTo>
                  <a:lnTo>
                    <a:pt x="6625" y="12592"/>
                  </a:lnTo>
                  <a:lnTo>
                    <a:pt x="6941" y="12568"/>
                  </a:lnTo>
                  <a:lnTo>
                    <a:pt x="7258" y="12519"/>
                  </a:lnTo>
                  <a:lnTo>
                    <a:pt x="7550" y="12470"/>
                  </a:lnTo>
                  <a:lnTo>
                    <a:pt x="7867" y="12397"/>
                  </a:lnTo>
                  <a:lnTo>
                    <a:pt x="8159" y="12300"/>
                  </a:lnTo>
                  <a:lnTo>
                    <a:pt x="8451" y="12202"/>
                  </a:lnTo>
                  <a:lnTo>
                    <a:pt x="8744" y="12105"/>
                  </a:lnTo>
                  <a:lnTo>
                    <a:pt x="9012" y="11983"/>
                  </a:lnTo>
                  <a:lnTo>
                    <a:pt x="9279" y="11837"/>
                  </a:lnTo>
                  <a:lnTo>
                    <a:pt x="9547" y="11691"/>
                  </a:lnTo>
                  <a:lnTo>
                    <a:pt x="9815" y="11520"/>
                  </a:lnTo>
                  <a:lnTo>
                    <a:pt x="10302" y="11155"/>
                  </a:lnTo>
                  <a:lnTo>
                    <a:pt x="10741" y="10741"/>
                  </a:lnTo>
                  <a:lnTo>
                    <a:pt x="11155" y="10303"/>
                  </a:lnTo>
                  <a:lnTo>
                    <a:pt x="11520" y="9816"/>
                  </a:lnTo>
                  <a:lnTo>
                    <a:pt x="11666" y="9572"/>
                  </a:lnTo>
                  <a:lnTo>
                    <a:pt x="11812" y="9304"/>
                  </a:lnTo>
                  <a:lnTo>
                    <a:pt x="11958" y="9036"/>
                  </a:lnTo>
                  <a:lnTo>
                    <a:pt x="12080" y="8744"/>
                  </a:lnTo>
                  <a:lnTo>
                    <a:pt x="12202" y="8476"/>
                  </a:lnTo>
                  <a:lnTo>
                    <a:pt x="12299" y="8184"/>
                  </a:lnTo>
                  <a:lnTo>
                    <a:pt x="12397" y="7867"/>
                  </a:lnTo>
                  <a:lnTo>
                    <a:pt x="12446" y="7575"/>
                  </a:lnTo>
                  <a:lnTo>
                    <a:pt x="12519" y="7258"/>
                  </a:lnTo>
                  <a:lnTo>
                    <a:pt x="12543" y="6942"/>
                  </a:lnTo>
                  <a:lnTo>
                    <a:pt x="12567" y="6625"/>
                  </a:lnTo>
                  <a:lnTo>
                    <a:pt x="12592" y="6308"/>
                  </a:lnTo>
                  <a:lnTo>
                    <a:pt x="12592" y="6308"/>
                  </a:lnTo>
                  <a:lnTo>
                    <a:pt x="12567" y="5968"/>
                  </a:lnTo>
                  <a:lnTo>
                    <a:pt x="12543" y="5651"/>
                  </a:lnTo>
                  <a:lnTo>
                    <a:pt x="12519" y="5334"/>
                  </a:lnTo>
                  <a:lnTo>
                    <a:pt x="12446" y="5042"/>
                  </a:lnTo>
                  <a:lnTo>
                    <a:pt x="12397" y="4725"/>
                  </a:lnTo>
                  <a:lnTo>
                    <a:pt x="12299" y="4433"/>
                  </a:lnTo>
                  <a:lnTo>
                    <a:pt x="12202" y="4141"/>
                  </a:lnTo>
                  <a:lnTo>
                    <a:pt x="12080" y="3849"/>
                  </a:lnTo>
                  <a:lnTo>
                    <a:pt x="11958" y="3581"/>
                  </a:lnTo>
                  <a:lnTo>
                    <a:pt x="11812" y="3313"/>
                  </a:lnTo>
                  <a:lnTo>
                    <a:pt x="11666" y="3045"/>
                  </a:lnTo>
                  <a:lnTo>
                    <a:pt x="11520" y="2777"/>
                  </a:lnTo>
                  <a:lnTo>
                    <a:pt x="11155" y="2290"/>
                  </a:lnTo>
                  <a:lnTo>
                    <a:pt x="10741" y="1852"/>
                  </a:lnTo>
                  <a:lnTo>
                    <a:pt x="10302" y="1437"/>
                  </a:lnTo>
                  <a:lnTo>
                    <a:pt x="9815" y="1072"/>
                  </a:lnTo>
                  <a:lnTo>
                    <a:pt x="9547" y="926"/>
                  </a:lnTo>
                  <a:lnTo>
                    <a:pt x="9279" y="780"/>
                  </a:lnTo>
                  <a:lnTo>
                    <a:pt x="9012" y="634"/>
                  </a:lnTo>
                  <a:lnTo>
                    <a:pt x="8744" y="512"/>
                  </a:lnTo>
                  <a:lnTo>
                    <a:pt x="8451" y="390"/>
                  </a:lnTo>
                  <a:lnTo>
                    <a:pt x="8159" y="293"/>
                  </a:lnTo>
                  <a:lnTo>
                    <a:pt x="7867" y="220"/>
                  </a:lnTo>
                  <a:lnTo>
                    <a:pt x="7550" y="147"/>
                  </a:lnTo>
                  <a:lnTo>
                    <a:pt x="7258" y="74"/>
                  </a:lnTo>
                  <a:lnTo>
                    <a:pt x="6941" y="49"/>
                  </a:lnTo>
                  <a:lnTo>
                    <a:pt x="6625" y="25"/>
                  </a:lnTo>
                  <a:lnTo>
                    <a:pt x="6284" y="1"/>
                  </a:lnTo>
                  <a:lnTo>
                    <a:pt x="6284" y="1"/>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14;p39">
              <a:extLst>
                <a:ext uri="{FF2B5EF4-FFF2-40B4-BE49-F238E27FC236}">
                  <a16:creationId xmlns:a16="http://schemas.microsoft.com/office/drawing/2014/main" id="{1161C841-DB6C-8F4E-206F-CF644E2454C7}"/>
                </a:ext>
              </a:extLst>
            </p:cNvPr>
            <p:cNvSpPr/>
            <p:nvPr/>
          </p:nvSpPr>
          <p:spPr>
            <a:xfrm>
              <a:off x="3988375" y="3021875"/>
              <a:ext cx="241750" cy="241750"/>
            </a:xfrm>
            <a:custGeom>
              <a:avLst/>
              <a:gdLst/>
              <a:ahLst/>
              <a:cxnLst/>
              <a:rect l="l" t="t" r="r" b="b"/>
              <a:pathLst>
                <a:path w="9670" h="9670" fill="none" extrusionOk="0">
                  <a:moveTo>
                    <a:pt x="4823" y="1"/>
                  </a:moveTo>
                  <a:lnTo>
                    <a:pt x="4823" y="1"/>
                  </a:lnTo>
                  <a:lnTo>
                    <a:pt x="4336" y="25"/>
                  </a:lnTo>
                  <a:lnTo>
                    <a:pt x="3849" y="98"/>
                  </a:lnTo>
                  <a:lnTo>
                    <a:pt x="3386" y="220"/>
                  </a:lnTo>
                  <a:lnTo>
                    <a:pt x="2947" y="391"/>
                  </a:lnTo>
                  <a:lnTo>
                    <a:pt x="2533" y="585"/>
                  </a:lnTo>
                  <a:lnTo>
                    <a:pt x="2144" y="829"/>
                  </a:lnTo>
                  <a:lnTo>
                    <a:pt x="1754" y="1121"/>
                  </a:lnTo>
                  <a:lnTo>
                    <a:pt x="1413" y="1438"/>
                  </a:lnTo>
                  <a:lnTo>
                    <a:pt x="1096" y="1779"/>
                  </a:lnTo>
                  <a:lnTo>
                    <a:pt x="829" y="2144"/>
                  </a:lnTo>
                  <a:lnTo>
                    <a:pt x="585" y="2534"/>
                  </a:lnTo>
                  <a:lnTo>
                    <a:pt x="390" y="2972"/>
                  </a:lnTo>
                  <a:lnTo>
                    <a:pt x="220" y="3411"/>
                  </a:lnTo>
                  <a:lnTo>
                    <a:pt x="98" y="3873"/>
                  </a:lnTo>
                  <a:lnTo>
                    <a:pt x="25" y="4336"/>
                  </a:lnTo>
                  <a:lnTo>
                    <a:pt x="1" y="4847"/>
                  </a:lnTo>
                  <a:lnTo>
                    <a:pt x="1" y="4847"/>
                  </a:lnTo>
                  <a:lnTo>
                    <a:pt x="25" y="5335"/>
                  </a:lnTo>
                  <a:lnTo>
                    <a:pt x="98" y="5822"/>
                  </a:lnTo>
                  <a:lnTo>
                    <a:pt x="220" y="6284"/>
                  </a:lnTo>
                  <a:lnTo>
                    <a:pt x="390" y="6723"/>
                  </a:lnTo>
                  <a:lnTo>
                    <a:pt x="585" y="7137"/>
                  </a:lnTo>
                  <a:lnTo>
                    <a:pt x="829" y="7527"/>
                  </a:lnTo>
                  <a:lnTo>
                    <a:pt x="1096" y="7916"/>
                  </a:lnTo>
                  <a:lnTo>
                    <a:pt x="1413" y="8257"/>
                  </a:lnTo>
                  <a:lnTo>
                    <a:pt x="1754" y="8574"/>
                  </a:lnTo>
                  <a:lnTo>
                    <a:pt x="2144" y="8842"/>
                  </a:lnTo>
                  <a:lnTo>
                    <a:pt x="2533" y="9085"/>
                  </a:lnTo>
                  <a:lnTo>
                    <a:pt x="2947" y="9280"/>
                  </a:lnTo>
                  <a:lnTo>
                    <a:pt x="3386" y="9451"/>
                  </a:lnTo>
                  <a:lnTo>
                    <a:pt x="3849" y="9572"/>
                  </a:lnTo>
                  <a:lnTo>
                    <a:pt x="4336" y="9645"/>
                  </a:lnTo>
                  <a:lnTo>
                    <a:pt x="4823" y="9670"/>
                  </a:lnTo>
                  <a:lnTo>
                    <a:pt x="4823" y="9670"/>
                  </a:lnTo>
                  <a:lnTo>
                    <a:pt x="5334" y="9645"/>
                  </a:lnTo>
                  <a:lnTo>
                    <a:pt x="5797" y="9572"/>
                  </a:lnTo>
                  <a:lnTo>
                    <a:pt x="6260" y="9451"/>
                  </a:lnTo>
                  <a:lnTo>
                    <a:pt x="6698" y="9280"/>
                  </a:lnTo>
                  <a:lnTo>
                    <a:pt x="7136" y="9085"/>
                  </a:lnTo>
                  <a:lnTo>
                    <a:pt x="7526" y="8842"/>
                  </a:lnTo>
                  <a:lnTo>
                    <a:pt x="7892" y="8574"/>
                  </a:lnTo>
                  <a:lnTo>
                    <a:pt x="8232" y="8257"/>
                  </a:lnTo>
                  <a:lnTo>
                    <a:pt x="8549" y="7916"/>
                  </a:lnTo>
                  <a:lnTo>
                    <a:pt x="8841" y="7527"/>
                  </a:lnTo>
                  <a:lnTo>
                    <a:pt x="9085" y="7137"/>
                  </a:lnTo>
                  <a:lnTo>
                    <a:pt x="9280" y="6723"/>
                  </a:lnTo>
                  <a:lnTo>
                    <a:pt x="9450" y="6284"/>
                  </a:lnTo>
                  <a:lnTo>
                    <a:pt x="9572" y="5822"/>
                  </a:lnTo>
                  <a:lnTo>
                    <a:pt x="9645" y="5335"/>
                  </a:lnTo>
                  <a:lnTo>
                    <a:pt x="9669" y="4847"/>
                  </a:lnTo>
                  <a:lnTo>
                    <a:pt x="9669" y="4847"/>
                  </a:lnTo>
                  <a:lnTo>
                    <a:pt x="9645" y="4336"/>
                  </a:lnTo>
                  <a:lnTo>
                    <a:pt x="9572" y="3873"/>
                  </a:lnTo>
                  <a:lnTo>
                    <a:pt x="9450" y="3411"/>
                  </a:lnTo>
                  <a:lnTo>
                    <a:pt x="9280" y="2972"/>
                  </a:lnTo>
                  <a:lnTo>
                    <a:pt x="9085" y="2534"/>
                  </a:lnTo>
                  <a:lnTo>
                    <a:pt x="8841" y="2144"/>
                  </a:lnTo>
                  <a:lnTo>
                    <a:pt x="8549" y="1779"/>
                  </a:lnTo>
                  <a:lnTo>
                    <a:pt x="8232" y="1438"/>
                  </a:lnTo>
                  <a:lnTo>
                    <a:pt x="7892" y="1121"/>
                  </a:lnTo>
                  <a:lnTo>
                    <a:pt x="7526" y="829"/>
                  </a:lnTo>
                  <a:lnTo>
                    <a:pt x="7136" y="585"/>
                  </a:lnTo>
                  <a:lnTo>
                    <a:pt x="6698" y="391"/>
                  </a:lnTo>
                  <a:lnTo>
                    <a:pt x="6260" y="220"/>
                  </a:lnTo>
                  <a:lnTo>
                    <a:pt x="5797" y="98"/>
                  </a:lnTo>
                  <a:lnTo>
                    <a:pt x="5334" y="25"/>
                  </a:lnTo>
                  <a:lnTo>
                    <a:pt x="4823" y="1"/>
                  </a:lnTo>
                  <a:lnTo>
                    <a:pt x="4823"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 name="Google Shape;615;p39">
              <a:extLst>
                <a:ext uri="{FF2B5EF4-FFF2-40B4-BE49-F238E27FC236}">
                  <a16:creationId xmlns:a16="http://schemas.microsoft.com/office/drawing/2014/main" id="{EDBA12F4-C3D7-E53B-8F7B-A20B3500ECAA}"/>
                </a:ext>
              </a:extLst>
            </p:cNvPr>
            <p:cNvSpPr/>
            <p:nvPr/>
          </p:nvSpPr>
          <p:spPr>
            <a:xfrm>
              <a:off x="4024300" y="3058425"/>
              <a:ext cx="84650" cy="84650"/>
            </a:xfrm>
            <a:custGeom>
              <a:avLst/>
              <a:gdLst/>
              <a:ahLst/>
              <a:cxnLst/>
              <a:rect l="l" t="t" r="r" b="b"/>
              <a:pathLst>
                <a:path w="3386" h="3386" fill="none" extrusionOk="0">
                  <a:moveTo>
                    <a:pt x="0" y="3385"/>
                  </a:moveTo>
                  <a:lnTo>
                    <a:pt x="0" y="3385"/>
                  </a:lnTo>
                  <a:lnTo>
                    <a:pt x="25" y="3020"/>
                  </a:lnTo>
                  <a:lnTo>
                    <a:pt x="74" y="2704"/>
                  </a:lnTo>
                  <a:lnTo>
                    <a:pt x="147" y="2363"/>
                  </a:lnTo>
                  <a:lnTo>
                    <a:pt x="268" y="2070"/>
                  </a:lnTo>
                  <a:lnTo>
                    <a:pt x="414" y="1754"/>
                  </a:lnTo>
                  <a:lnTo>
                    <a:pt x="585" y="1486"/>
                  </a:lnTo>
                  <a:lnTo>
                    <a:pt x="780" y="1218"/>
                  </a:lnTo>
                  <a:lnTo>
                    <a:pt x="999" y="974"/>
                  </a:lnTo>
                  <a:lnTo>
                    <a:pt x="1243" y="755"/>
                  </a:lnTo>
                  <a:lnTo>
                    <a:pt x="1510" y="560"/>
                  </a:lnTo>
                  <a:lnTo>
                    <a:pt x="1778" y="390"/>
                  </a:lnTo>
                  <a:lnTo>
                    <a:pt x="2071" y="244"/>
                  </a:lnTo>
                  <a:lnTo>
                    <a:pt x="2387" y="146"/>
                  </a:lnTo>
                  <a:lnTo>
                    <a:pt x="2704" y="49"/>
                  </a:lnTo>
                  <a:lnTo>
                    <a:pt x="3045" y="0"/>
                  </a:lnTo>
                  <a:lnTo>
                    <a:pt x="3386" y="0"/>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16;p39">
              <a:extLst>
                <a:ext uri="{FF2B5EF4-FFF2-40B4-BE49-F238E27FC236}">
                  <a16:creationId xmlns:a16="http://schemas.microsoft.com/office/drawing/2014/main" id="{1AF1365E-02F1-16F9-8D31-EC00BABB6090}"/>
                </a:ext>
              </a:extLst>
            </p:cNvPr>
            <p:cNvSpPr/>
            <p:nvPr/>
          </p:nvSpPr>
          <p:spPr>
            <a:xfrm>
              <a:off x="4205750" y="3248375"/>
              <a:ext cx="154050" cy="153475"/>
            </a:xfrm>
            <a:custGeom>
              <a:avLst/>
              <a:gdLst/>
              <a:ahLst/>
              <a:cxnLst/>
              <a:rect l="l" t="t" r="r" b="b"/>
              <a:pathLst>
                <a:path w="6162" h="6139" fill="none" extrusionOk="0">
                  <a:moveTo>
                    <a:pt x="0" y="1024"/>
                  </a:moveTo>
                  <a:lnTo>
                    <a:pt x="4969" y="5992"/>
                  </a:lnTo>
                  <a:lnTo>
                    <a:pt x="4969" y="5992"/>
                  </a:lnTo>
                  <a:lnTo>
                    <a:pt x="5042" y="6041"/>
                  </a:lnTo>
                  <a:lnTo>
                    <a:pt x="5115" y="6090"/>
                  </a:lnTo>
                  <a:lnTo>
                    <a:pt x="5212" y="6114"/>
                  </a:lnTo>
                  <a:lnTo>
                    <a:pt x="5310" y="6138"/>
                  </a:lnTo>
                  <a:lnTo>
                    <a:pt x="5407" y="6114"/>
                  </a:lnTo>
                  <a:lnTo>
                    <a:pt x="5480" y="6090"/>
                  </a:lnTo>
                  <a:lnTo>
                    <a:pt x="5577" y="6041"/>
                  </a:lnTo>
                  <a:lnTo>
                    <a:pt x="5651" y="5992"/>
                  </a:lnTo>
                  <a:lnTo>
                    <a:pt x="6016" y="5627"/>
                  </a:lnTo>
                  <a:lnTo>
                    <a:pt x="6016" y="5627"/>
                  </a:lnTo>
                  <a:lnTo>
                    <a:pt x="6089" y="5554"/>
                  </a:lnTo>
                  <a:lnTo>
                    <a:pt x="6138" y="5456"/>
                  </a:lnTo>
                  <a:lnTo>
                    <a:pt x="6162" y="5359"/>
                  </a:lnTo>
                  <a:lnTo>
                    <a:pt x="6162" y="5286"/>
                  </a:lnTo>
                  <a:lnTo>
                    <a:pt x="6162" y="5188"/>
                  </a:lnTo>
                  <a:lnTo>
                    <a:pt x="6138" y="5091"/>
                  </a:lnTo>
                  <a:lnTo>
                    <a:pt x="6089" y="5018"/>
                  </a:lnTo>
                  <a:lnTo>
                    <a:pt x="6016" y="4921"/>
                  </a:lnTo>
                  <a:lnTo>
                    <a:pt x="1072"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0575089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lgn="ctr">
              <a:buClr>
                <a:srgbClr val="DE0A1D"/>
              </a:buClr>
              <a:buFont typeface="Arial" panose="020B0604020202020204" pitchFamily="34" charset="0"/>
              <a:buChar char="•"/>
            </a:pP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Präemptive Technik</a:t>
            </a:r>
          </a:p>
        </p:txBody>
      </p:sp>
      <p:sp>
        <p:nvSpPr>
          <p:cNvPr id="3" name="Oval 2">
            <a:extLst>
              <a:ext uri="{FF2B5EF4-FFF2-40B4-BE49-F238E27FC236}">
                <a16:creationId xmlns:a16="http://schemas.microsoft.com/office/drawing/2014/main" id="{1E44C1FD-7676-3D5C-1BA7-C2628947D62A}"/>
              </a:ext>
            </a:extLst>
          </p:cNvPr>
          <p:cNvSpPr/>
          <p:nvPr/>
        </p:nvSpPr>
        <p:spPr>
          <a:xfrm>
            <a:off x="9569378" y="1645617"/>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10080140" y="2200865"/>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1063223" y="1518000"/>
            <a:ext cx="8770077"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buClr>
                <a:srgbClr val="DE0A1D"/>
              </a:buClr>
              <a:tabLst>
                <a:tab pos="398463" algn="l"/>
                <a:tab pos="611188" algn="l"/>
              </a:tabLst>
            </a:pPr>
            <a:r>
              <a:rPr lang="en-US" sz="2000" dirty="0">
                <a:solidFill>
                  <a:srgbClr val="595959"/>
                </a:solidFill>
              </a:rPr>
              <a:t>Kümmern Sie sich um den Einwand, bevor der Interessent Zeit hat, ihn vorzubringen.</a:t>
            </a:r>
          </a:p>
          <a:p>
            <a:pPr marL="342900" indent="-342900">
              <a:spcBef>
                <a:spcPts val="0"/>
              </a:spcBef>
              <a:buClr>
                <a:srgbClr val="EC2179"/>
              </a:buClr>
              <a:buFont typeface="Arial" charset="0"/>
              <a:buChar char="•"/>
              <a:tabLst>
                <a:tab pos="398463" algn="l"/>
                <a:tab pos="611188" algn="l"/>
              </a:tabLst>
            </a:pPr>
            <a:endParaRPr lang="en-US" sz="2000" dirty="0">
              <a:solidFill>
                <a:srgbClr val="595959"/>
              </a:solidFill>
            </a:endParaRPr>
          </a:p>
          <a:p>
            <a:pPr marL="342900" indent="-342900">
              <a:spcBef>
                <a:spcPts val="0"/>
              </a:spcBef>
              <a:buClr>
                <a:srgbClr val="EC2179"/>
              </a:buClr>
              <a:tabLst>
                <a:tab pos="398463" algn="l"/>
                <a:tab pos="611188" algn="l"/>
              </a:tabLst>
            </a:pPr>
            <a:r>
              <a:rPr lang="en-US" sz="2000" b="1" dirty="0">
                <a:solidFill>
                  <a:srgbClr val="DE0A1D"/>
                </a:solidFill>
              </a:rPr>
              <a:t>	Sie</a:t>
            </a:r>
            <a:r>
              <a:rPr lang="en-US" sz="2000" b="1" dirty="0">
                <a:solidFill>
                  <a:srgbClr val="595959"/>
                </a:solidFill>
              </a:rPr>
              <a:t>: </a:t>
            </a:r>
            <a:r>
              <a:rPr lang="en-US" sz="2000" i="1" dirty="0">
                <a:solidFill>
                  <a:srgbClr val="595959"/>
                </a:solidFill>
              </a:rPr>
              <a:t>Sie finden das vielleicht teuer, aber wir können einen monatlichen Zahlungsplan ausarbeiten</a:t>
            </a:r>
            <a:endParaRPr lang="en-US" sz="2000" dirty="0">
              <a:solidFill>
                <a:srgbClr val="595959"/>
              </a:solidFill>
            </a:endParaRPr>
          </a:p>
          <a:p>
            <a:pPr>
              <a:spcBef>
                <a:spcPts val="0"/>
              </a:spcBef>
              <a:buClr>
                <a:srgbClr val="EC2179"/>
              </a:buClr>
              <a:tabLst>
                <a:tab pos="398463" algn="l"/>
                <a:tab pos="611188" algn="l"/>
              </a:tabLst>
            </a:pPr>
            <a:r>
              <a:rPr lang="en-US" sz="2000" b="1" dirty="0">
                <a:solidFill>
                  <a:srgbClr val="DE0A1D"/>
                </a:solidFill>
              </a:rPr>
              <a:t>	Sie</a:t>
            </a:r>
            <a:r>
              <a:rPr lang="en-US" sz="2000" b="1" dirty="0">
                <a:solidFill>
                  <a:srgbClr val="595959"/>
                </a:solidFill>
              </a:rPr>
              <a:t>: </a:t>
            </a:r>
            <a:r>
              <a:rPr lang="en-US" sz="2000" i="1" dirty="0">
                <a:solidFill>
                  <a:srgbClr val="595959"/>
                </a:solidFill>
              </a:rPr>
              <a:t>Ein Kunde von mir war nicht begeistert davon, die Verwaltung extern auszulagern, bis ich ihm von den enormen Kosteneinsparungen erzählte, die dadurch erzielt werden. </a:t>
            </a:r>
            <a:endParaRPr lang="en-US" sz="2000" dirty="0">
              <a:solidFill>
                <a:srgbClr val="595959"/>
              </a:solidFill>
            </a:endParaRPr>
          </a:p>
          <a:p>
            <a:pPr>
              <a:spcBef>
                <a:spcPts val="0"/>
              </a:spcBef>
              <a:buClr>
                <a:srgbClr val="EC2179"/>
              </a:buClr>
              <a:tabLst>
                <a:tab pos="398463" algn="l"/>
                <a:tab pos="611188" algn="l"/>
              </a:tabLst>
            </a:pPr>
            <a:endParaRPr lang="en-US" sz="2000" i="1" dirty="0">
              <a:solidFill>
                <a:srgbClr val="595959"/>
              </a:solidFill>
            </a:endParaRPr>
          </a:p>
          <a:p>
            <a:r>
              <a:rPr lang="en-GB" sz="2000" dirty="0">
                <a:solidFill>
                  <a:srgbClr val="595959"/>
                </a:solidFill>
              </a:rPr>
              <a:t>Das bringt Sie als Verkäufer in eine Position der Stärke. Sie bringen den Einwand zuerst vor, damit er nicht noch einmal vorgebracht werden kann.  Der Einwand wird schwächer, und die Bearbeitung wird stärker.  Frühere Kundenbeispiele sind wichtig, um Einfühlungsvermögen zu zeigen und eine Isolierung zu vermeiden. </a:t>
            </a:r>
          </a:p>
          <a:p>
            <a:pPr>
              <a:spcBef>
                <a:spcPts val="0"/>
              </a:spcBef>
              <a:buClr>
                <a:srgbClr val="EC2179"/>
              </a:buClr>
              <a:tabLst>
                <a:tab pos="398463" algn="l"/>
                <a:tab pos="611188" algn="l"/>
              </a:tabLst>
            </a:pPr>
            <a:endParaRPr lang="en-US" sz="1600" dirty="0">
              <a:solidFill>
                <a:srgbClr val="595959"/>
              </a:solidFill>
            </a:endParaRPr>
          </a:p>
          <a:p>
            <a:pPr marR="0" lvl="0" algn="l" defTabSz="914400" rtl="0" eaLnBrk="1" fontAlgn="auto" latinLnBrk="0" hangingPunct="1">
              <a:lnSpc>
                <a:spcPct val="90000"/>
              </a:lnSpc>
              <a:spcBef>
                <a:spcPts val="1000"/>
              </a:spcBef>
              <a:spcAft>
                <a:spcPts val="0"/>
              </a:spcAft>
              <a:buClrTx/>
              <a:buSzTx/>
              <a:tabLst/>
              <a:defRPr/>
            </a:pPr>
            <a:endParaRPr kumimoji="0" lang="en-US" sz="20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grpSp>
        <p:nvGrpSpPr>
          <p:cNvPr id="7" name="Google Shape;543;p39">
            <a:extLst>
              <a:ext uri="{FF2B5EF4-FFF2-40B4-BE49-F238E27FC236}">
                <a16:creationId xmlns:a16="http://schemas.microsoft.com/office/drawing/2014/main" id="{7DC74D54-8E37-8B03-7230-CA8FE22EF979}"/>
              </a:ext>
            </a:extLst>
          </p:cNvPr>
          <p:cNvGrpSpPr/>
          <p:nvPr/>
        </p:nvGrpSpPr>
        <p:grpSpPr>
          <a:xfrm>
            <a:off x="9742317" y="1759776"/>
            <a:ext cx="570177" cy="597822"/>
            <a:chOff x="5961125" y="1623900"/>
            <a:chExt cx="427450" cy="448175"/>
          </a:xfrm>
        </p:grpSpPr>
        <p:sp>
          <p:nvSpPr>
            <p:cNvPr id="8" name="Google Shape;544;p39">
              <a:extLst>
                <a:ext uri="{FF2B5EF4-FFF2-40B4-BE49-F238E27FC236}">
                  <a16:creationId xmlns:a16="http://schemas.microsoft.com/office/drawing/2014/main" id="{9E36E320-4E3E-82E6-90A6-F55403D01498}"/>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545;p39">
              <a:extLst>
                <a:ext uri="{FF2B5EF4-FFF2-40B4-BE49-F238E27FC236}">
                  <a16:creationId xmlns:a16="http://schemas.microsoft.com/office/drawing/2014/main" id="{77283CFE-7A5A-C9A4-2214-8DC15258BDC1}"/>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546;p39">
              <a:extLst>
                <a:ext uri="{FF2B5EF4-FFF2-40B4-BE49-F238E27FC236}">
                  <a16:creationId xmlns:a16="http://schemas.microsoft.com/office/drawing/2014/main" id="{F667C1DC-9C38-E9E4-C9F0-1F845E416C8C}"/>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547;p39">
              <a:extLst>
                <a:ext uri="{FF2B5EF4-FFF2-40B4-BE49-F238E27FC236}">
                  <a16:creationId xmlns:a16="http://schemas.microsoft.com/office/drawing/2014/main" id="{FA916ABE-804C-3536-E2E8-0B7B071C2829}"/>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548;p39">
              <a:extLst>
                <a:ext uri="{FF2B5EF4-FFF2-40B4-BE49-F238E27FC236}">
                  <a16:creationId xmlns:a16="http://schemas.microsoft.com/office/drawing/2014/main" id="{39E007C4-5917-E744-F13E-4F79D4B99C5E}"/>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549;p39">
              <a:extLst>
                <a:ext uri="{FF2B5EF4-FFF2-40B4-BE49-F238E27FC236}">
                  <a16:creationId xmlns:a16="http://schemas.microsoft.com/office/drawing/2014/main" id="{B8F12D73-FED0-337C-D27E-1A204FEA8AD2}"/>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550;p39">
              <a:extLst>
                <a:ext uri="{FF2B5EF4-FFF2-40B4-BE49-F238E27FC236}">
                  <a16:creationId xmlns:a16="http://schemas.microsoft.com/office/drawing/2014/main" id="{01407163-0C52-632F-9819-80A69E7F8493}"/>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76357773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3EC5B8-1353-E6CA-9142-D7C219EE9B3C}"/>
              </a:ext>
            </a:extLst>
          </p:cNvPr>
          <p:cNvSpPr>
            <a:spLocks noGrp="1"/>
          </p:cNvSpPr>
          <p:nvPr>
            <p:ph type="body" sz="quarter" idx="18"/>
          </p:nvPr>
        </p:nvSpPr>
        <p:spPr>
          <a:xfrm>
            <a:off x="960351" y="3616257"/>
            <a:ext cx="4867011" cy="3025975"/>
          </a:xfrm>
        </p:spPr>
        <p:txBody>
          <a:bodyPr/>
          <a:lstStyle/>
          <a:p>
            <a:pPr marL="0" indent="0"/>
            <a:r>
              <a:rPr lang="en-GB" dirty="0"/>
              <a:t>Sie müssen in der Lage sein, den Verkauf abzuschließen, wenn Sie glauben, dass der Käufer zum Kauf bereit ist.</a:t>
            </a:r>
          </a:p>
          <a:p>
            <a:endParaRPr lang="en-IE" dirty="0"/>
          </a:p>
        </p:txBody>
      </p:sp>
      <p:sp>
        <p:nvSpPr>
          <p:cNvPr id="3" name="Text Placeholder 2">
            <a:extLst>
              <a:ext uri="{FF2B5EF4-FFF2-40B4-BE49-F238E27FC236}">
                <a16:creationId xmlns:a16="http://schemas.microsoft.com/office/drawing/2014/main" id="{6660F4E4-7F58-4254-C4E1-A0ABF398CF50}"/>
              </a:ext>
            </a:extLst>
          </p:cNvPr>
          <p:cNvSpPr>
            <a:spLocks noGrp="1"/>
          </p:cNvSpPr>
          <p:nvPr>
            <p:ph type="body" sz="quarter" idx="16"/>
          </p:nvPr>
        </p:nvSpPr>
        <p:spPr>
          <a:xfrm>
            <a:off x="960351" y="1964033"/>
            <a:ext cx="4990998" cy="992652"/>
          </a:xfrm>
        </p:spPr>
        <p:txBody>
          <a:bodyPr/>
          <a:lstStyle/>
          <a:p>
            <a:r>
              <a:rPr lang="en-GB" dirty="0"/>
              <a:t>Sind Sie bereit, den Verkauf </a:t>
            </a:r>
            <a:r>
              <a:rPr lang="en-GB" dirty="0" err="1"/>
              <a:t>zu</a:t>
            </a:r>
            <a:r>
              <a:rPr lang="en-GB" dirty="0"/>
              <a:t> </a:t>
            </a:r>
            <a:r>
              <a:rPr lang="en-GB" dirty="0" err="1"/>
              <a:t>abzuschließen</a:t>
            </a:r>
            <a:r>
              <a:rPr lang="en-GB" dirty="0"/>
              <a:t>?</a:t>
            </a:r>
            <a:endParaRPr lang="en-IE" dirty="0"/>
          </a:p>
        </p:txBody>
      </p:sp>
      <p:pic>
        <p:nvPicPr>
          <p:cNvPr id="4" name="Picture Placeholder 5">
            <a:extLst>
              <a:ext uri="{FF2B5EF4-FFF2-40B4-BE49-F238E27FC236}">
                <a16:creationId xmlns:a16="http://schemas.microsoft.com/office/drawing/2014/main" id="{E6500F5F-BC93-53EF-38D9-22F11990A1B9}"/>
              </a:ext>
            </a:extLst>
          </p:cNvPr>
          <p:cNvPicPr>
            <a:picLocks noGrp="1" noChangeAspect="1"/>
          </p:cNvPicPr>
          <p:nvPr>
            <p:ph type="pic" sz="quarter" idx="42"/>
          </p:nvPr>
        </p:nvPicPr>
        <p:blipFill>
          <a:blip r:embed="rId2"/>
          <a:srcRect l="9519" r="9519"/>
          <a:stretch>
            <a:fillRect/>
          </a:stretch>
        </p:blipFill>
        <p:spPr>
          <a:xfrm>
            <a:off x="6545263" y="1452563"/>
            <a:ext cx="5646737" cy="4656137"/>
          </a:xfrm>
        </p:spPr>
      </p:pic>
    </p:spTree>
    <p:extLst>
      <p:ext uri="{BB962C8B-B14F-4D97-AF65-F5344CB8AC3E}">
        <p14:creationId xmlns:p14="http://schemas.microsoft.com/office/powerpoint/2010/main" val="14299290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sz="3200" dirty="0">
                <a:solidFill>
                  <a:schemeClr val="bg1"/>
                </a:solidFill>
              </a:rPr>
              <a:t>Sind Sie bereit, das Geschäft abzuschließen?</a:t>
            </a:r>
          </a:p>
          <a:p>
            <a:endParaRPr lang="en-US" sz="3200" dirty="0"/>
          </a:p>
        </p:txBody>
      </p:sp>
      <p:sp>
        <p:nvSpPr>
          <p:cNvPr id="3" name="Oval 2">
            <a:extLst>
              <a:ext uri="{FF2B5EF4-FFF2-40B4-BE49-F238E27FC236}">
                <a16:creationId xmlns:a16="http://schemas.microsoft.com/office/drawing/2014/main" id="{1E44C1FD-7676-3D5C-1BA7-C2628947D62A}"/>
              </a:ext>
            </a:extLst>
          </p:cNvPr>
          <p:cNvSpPr/>
          <p:nvPr/>
        </p:nvSpPr>
        <p:spPr>
          <a:xfrm>
            <a:off x="9458532" y="1631004"/>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9883759" y="2257340"/>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grpSp>
        <p:nvGrpSpPr>
          <p:cNvPr id="7" name="Google Shape;543;p39">
            <a:extLst>
              <a:ext uri="{FF2B5EF4-FFF2-40B4-BE49-F238E27FC236}">
                <a16:creationId xmlns:a16="http://schemas.microsoft.com/office/drawing/2014/main" id="{7DC74D54-8E37-8B03-7230-CA8FE22EF979}"/>
              </a:ext>
            </a:extLst>
          </p:cNvPr>
          <p:cNvGrpSpPr/>
          <p:nvPr/>
        </p:nvGrpSpPr>
        <p:grpSpPr>
          <a:xfrm>
            <a:off x="9598670" y="1790121"/>
            <a:ext cx="570177" cy="597822"/>
            <a:chOff x="5961125" y="1623900"/>
            <a:chExt cx="427450" cy="448175"/>
          </a:xfrm>
        </p:grpSpPr>
        <p:sp>
          <p:nvSpPr>
            <p:cNvPr id="8" name="Google Shape;544;p39">
              <a:extLst>
                <a:ext uri="{FF2B5EF4-FFF2-40B4-BE49-F238E27FC236}">
                  <a16:creationId xmlns:a16="http://schemas.microsoft.com/office/drawing/2014/main" id="{9E36E320-4E3E-82E6-90A6-F55403D01498}"/>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545;p39">
              <a:extLst>
                <a:ext uri="{FF2B5EF4-FFF2-40B4-BE49-F238E27FC236}">
                  <a16:creationId xmlns:a16="http://schemas.microsoft.com/office/drawing/2014/main" id="{77283CFE-7A5A-C9A4-2214-8DC15258BDC1}"/>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546;p39">
              <a:extLst>
                <a:ext uri="{FF2B5EF4-FFF2-40B4-BE49-F238E27FC236}">
                  <a16:creationId xmlns:a16="http://schemas.microsoft.com/office/drawing/2014/main" id="{F667C1DC-9C38-E9E4-C9F0-1F845E416C8C}"/>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547;p39">
              <a:extLst>
                <a:ext uri="{FF2B5EF4-FFF2-40B4-BE49-F238E27FC236}">
                  <a16:creationId xmlns:a16="http://schemas.microsoft.com/office/drawing/2014/main" id="{FA916ABE-804C-3536-E2E8-0B7B071C2829}"/>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548;p39">
              <a:extLst>
                <a:ext uri="{FF2B5EF4-FFF2-40B4-BE49-F238E27FC236}">
                  <a16:creationId xmlns:a16="http://schemas.microsoft.com/office/drawing/2014/main" id="{39E007C4-5917-E744-F13E-4F79D4B99C5E}"/>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549;p39">
              <a:extLst>
                <a:ext uri="{FF2B5EF4-FFF2-40B4-BE49-F238E27FC236}">
                  <a16:creationId xmlns:a16="http://schemas.microsoft.com/office/drawing/2014/main" id="{B8F12D73-FED0-337C-D27E-1A204FEA8AD2}"/>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550;p39">
              <a:extLst>
                <a:ext uri="{FF2B5EF4-FFF2-40B4-BE49-F238E27FC236}">
                  <a16:creationId xmlns:a16="http://schemas.microsoft.com/office/drawing/2014/main" id="{01407163-0C52-632F-9819-80A69E7F8493}"/>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905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TextBox 8">
            <a:extLst>
              <a:ext uri="{FF2B5EF4-FFF2-40B4-BE49-F238E27FC236}">
                <a16:creationId xmlns:a16="http://schemas.microsoft.com/office/drawing/2014/main" id="{A6319E8D-B8E9-F377-2BA0-8B7BE95EE031}"/>
              </a:ext>
            </a:extLst>
          </p:cNvPr>
          <p:cNvSpPr txBox="1"/>
          <p:nvPr/>
        </p:nvSpPr>
        <p:spPr>
          <a:xfrm>
            <a:off x="594910" y="1729194"/>
            <a:ext cx="8647567" cy="3477875"/>
          </a:xfrm>
          <a:prstGeom prst="rect">
            <a:avLst/>
          </a:prstGeom>
          <a:noFill/>
        </p:spPr>
        <p:txBody>
          <a:bodyPr wrap="square">
            <a:spAutoFit/>
          </a:bodyPr>
          <a:lstStyle/>
          <a:p>
            <a:pPr marL="285750" indent="-285750">
              <a:buClr>
                <a:srgbClr val="DE0A1D"/>
              </a:buClr>
              <a:buFont typeface="Wingdings" panose="05000000000000000000" pitchFamily="2" charset="2"/>
              <a:buChar char="ü"/>
            </a:pPr>
            <a:r>
              <a:rPr lang="en-GB" sz="2000" dirty="0">
                <a:solidFill>
                  <a:srgbClr val="595959"/>
                </a:solidFill>
              </a:rPr>
              <a:t>Haben Sie alle Anstrengungen unternommen, um die Bedürfnisse des potenziellen Kunden richtig einzuschätzen?</a:t>
            </a:r>
          </a:p>
          <a:p>
            <a:pPr marL="285750" indent="-285750">
              <a:buClr>
                <a:srgbClr val="DE0A1D"/>
              </a:buClr>
              <a:buFont typeface="Wingdings" panose="05000000000000000000" pitchFamily="2" charset="2"/>
              <a:buChar char="ü"/>
            </a:pPr>
            <a:r>
              <a:rPr lang="en-GB" sz="2000" dirty="0">
                <a:solidFill>
                  <a:srgbClr val="595959"/>
                </a:solidFill>
              </a:rPr>
              <a:t>Haben Sie alle Einwände bearbeitet?</a:t>
            </a:r>
          </a:p>
          <a:p>
            <a:pPr marL="285750" indent="-285750">
              <a:buClr>
                <a:srgbClr val="DE0A1D"/>
              </a:buClr>
              <a:buFont typeface="Wingdings" panose="05000000000000000000" pitchFamily="2" charset="2"/>
              <a:buChar char="ü"/>
            </a:pPr>
            <a:r>
              <a:rPr lang="en-GB" sz="2000" dirty="0">
                <a:solidFill>
                  <a:srgbClr val="595959"/>
                </a:solidFill>
              </a:rPr>
              <a:t>Haben Sie alle Fragen beantwortet?</a:t>
            </a:r>
          </a:p>
          <a:p>
            <a:pPr marL="285750" indent="-285750">
              <a:buClr>
                <a:srgbClr val="DE0A1D"/>
              </a:buClr>
              <a:buFont typeface="Wingdings" panose="05000000000000000000" pitchFamily="2" charset="2"/>
              <a:buChar char="ü"/>
            </a:pPr>
            <a:r>
              <a:rPr lang="en-GB" sz="2000" dirty="0">
                <a:solidFill>
                  <a:srgbClr val="595959"/>
                </a:solidFill>
              </a:rPr>
              <a:t>Haben Sie visuelle Hilfsmittel verwendet, um die Behauptungen über das Produkt zu untermauern oder um zu zeigen, was es leisten kann?</a:t>
            </a:r>
          </a:p>
          <a:p>
            <a:pPr marL="285750" indent="-285750">
              <a:buClr>
                <a:srgbClr val="DE0A1D"/>
              </a:buClr>
              <a:buFont typeface="Wingdings" panose="05000000000000000000" pitchFamily="2" charset="2"/>
              <a:buChar char="ü"/>
            </a:pPr>
            <a:r>
              <a:rPr lang="en-GB" sz="2000" dirty="0">
                <a:solidFill>
                  <a:srgbClr val="595959"/>
                </a:solidFill>
              </a:rPr>
              <a:t>Haben Sie Erfahrungsberichte von anderen Kunden angeboten, die das Produkt/die Dienstleistung nutzen?</a:t>
            </a:r>
          </a:p>
          <a:p>
            <a:pPr marL="285750" indent="-285750">
              <a:buClr>
                <a:srgbClr val="DE0A1D"/>
              </a:buClr>
              <a:buFont typeface="Wingdings" panose="05000000000000000000" pitchFamily="2" charset="2"/>
              <a:buChar char="ü"/>
            </a:pPr>
            <a:r>
              <a:rPr lang="en-GB" sz="2000" dirty="0">
                <a:solidFill>
                  <a:srgbClr val="595959"/>
                </a:solidFill>
              </a:rPr>
              <a:t>Haben Sie herausgefunden, ob es weitere Personen gibt, die an der Kaufentscheidung beteiligt werden müssen? Wenn ja, haben Sie sich mit ihnen getroffen?</a:t>
            </a:r>
          </a:p>
        </p:txBody>
      </p:sp>
    </p:spTree>
    <p:extLst>
      <p:ext uri="{BB962C8B-B14F-4D97-AF65-F5344CB8AC3E}">
        <p14:creationId xmlns:p14="http://schemas.microsoft.com/office/powerpoint/2010/main" val="196356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70044" y="1637782"/>
            <a:ext cx="4901986" cy="3849918"/>
          </a:xfrm>
        </p:spPr>
        <p:txBody>
          <a:bodyPr/>
          <a:lstStyle/>
          <a:p>
            <a:pPr marL="0" indent="0"/>
            <a:r>
              <a:rPr lang="en-US" sz="2000" dirty="0"/>
              <a:t>Im Grunde genommen ist Marketing jeder Kontakt zwischen Ihnen und jemandem, der bei Ihnen kaufen könnte. </a:t>
            </a:r>
          </a:p>
          <a:p>
            <a:pPr marL="0" indent="0"/>
            <a:r>
              <a:rPr lang="en-US" sz="2000" dirty="0"/>
              <a:t>Es ist alles, was Sie tun, um Ihr Produkt oder Ihre Dienstleistung in die Hände potenzieller Kunden zu legen.</a:t>
            </a:r>
          </a:p>
          <a:p>
            <a:pPr marL="0" indent="0"/>
            <a:r>
              <a:rPr lang="en-US" sz="2000" dirty="0"/>
              <a:t> Es ist wichtig, Marketing als einen Prozess und nicht als ein Ereignis zu betrachten.</a:t>
            </a:r>
          </a:p>
          <a:p>
            <a:pPr marL="0" indent="0"/>
            <a:r>
              <a:rPr lang="en-US" sz="2000" dirty="0"/>
              <a:t> Es handelt sich nicht um eine Funktion, sondern um eine Art, Geschäfte zu machen. Es ist eine Denkweise.</a:t>
            </a:r>
          </a:p>
          <a:p>
            <a:endParaRPr lang="en-US" sz="100" dirty="0"/>
          </a:p>
          <a:p>
            <a:endParaRPr lang="en-US" sz="2000" dirty="0"/>
          </a:p>
          <a:p>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806917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a:solidFill>
                  <a:schemeClr val="bg1"/>
                </a:solidFill>
              </a:rPr>
              <a:t>Beim Marketing geht es darum, sich abzuheben</a:t>
            </a:r>
            <a:endParaRPr lang="en-US"/>
          </a:p>
        </p:txBody>
      </p:sp>
      <p:sp>
        <p:nvSpPr>
          <p:cNvPr id="9" name="TextBox 8">
            <a:extLst>
              <a:ext uri="{FF2B5EF4-FFF2-40B4-BE49-F238E27FC236}">
                <a16:creationId xmlns:a16="http://schemas.microsoft.com/office/drawing/2014/main" id="{44690549-DBB9-DFC6-EF6E-5A33B7E6F374}"/>
              </a:ext>
            </a:extLst>
          </p:cNvPr>
          <p:cNvSpPr txBox="1"/>
          <p:nvPr/>
        </p:nvSpPr>
        <p:spPr>
          <a:xfrm>
            <a:off x="5807242" y="4978296"/>
            <a:ext cx="4720389" cy="830997"/>
          </a:xfrm>
          <a:prstGeom prst="rect">
            <a:avLst/>
          </a:prstGeom>
          <a:noFill/>
        </p:spPr>
        <p:txBody>
          <a:bodyPr wrap="square">
            <a:spAutoFit/>
          </a:bodyPr>
          <a:lstStyle/>
          <a:p>
            <a:r>
              <a:rPr lang="en-US" sz="2400">
                <a:solidFill>
                  <a:srgbClr val="47B5C8"/>
                </a:solidFill>
              </a:rPr>
              <a:t>Es geht darum, dass Sie in einem überfüllten Markt wahrgenommen werden.</a:t>
            </a:r>
          </a:p>
        </p:txBody>
      </p:sp>
      <p:pic>
        <p:nvPicPr>
          <p:cNvPr id="3" name="Picture 6">
            <a:extLst>
              <a:ext uri="{FF2B5EF4-FFF2-40B4-BE49-F238E27FC236}">
                <a16:creationId xmlns:a16="http://schemas.microsoft.com/office/drawing/2014/main" id="{27AF7849-2065-4C93-2002-29E473C1E047}"/>
              </a:ext>
            </a:extLst>
          </p:cNvPr>
          <p:cNvPicPr>
            <a:picLocks noChangeAspect="1"/>
          </p:cNvPicPr>
          <p:nvPr/>
        </p:nvPicPr>
        <p:blipFill>
          <a:blip r:embed="rId2"/>
          <a:stretch>
            <a:fillRect/>
          </a:stretch>
        </p:blipFill>
        <p:spPr>
          <a:xfrm>
            <a:off x="5807242" y="1637781"/>
            <a:ext cx="4901987" cy="3267991"/>
          </a:xfrm>
          <a:prstGeom prst="rect">
            <a:avLst/>
          </a:prstGeom>
        </p:spPr>
      </p:pic>
    </p:spTree>
    <p:extLst>
      <p:ext uri="{BB962C8B-B14F-4D97-AF65-F5344CB8AC3E}">
        <p14:creationId xmlns:p14="http://schemas.microsoft.com/office/powerpoint/2010/main" val="27066533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381286" y="54533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2900" y="662704"/>
            <a:ext cx="9632553" cy="803654"/>
          </a:xfrm>
        </p:spPr>
        <p:txBody>
          <a:bodyPr/>
          <a:lstStyle/>
          <a:p>
            <a:r>
              <a:rPr lang="en-US" dirty="0">
                <a:solidFill>
                  <a:schemeClr val="bg1"/>
                </a:solidFill>
              </a:rPr>
              <a:t>Abschlusstechniken</a:t>
            </a:r>
            <a:endParaRPr lang="en-US" dirty="0"/>
          </a:p>
        </p:txBody>
      </p:sp>
      <p:sp>
        <p:nvSpPr>
          <p:cNvPr id="8" name="TextBox 7">
            <a:extLst>
              <a:ext uri="{FF2B5EF4-FFF2-40B4-BE49-F238E27FC236}">
                <a16:creationId xmlns:a16="http://schemas.microsoft.com/office/drawing/2014/main" id="{2BB58133-E930-3DFD-5B29-B40CA050D9B6}"/>
              </a:ext>
            </a:extLst>
          </p:cNvPr>
          <p:cNvSpPr txBox="1"/>
          <p:nvPr/>
        </p:nvSpPr>
        <p:spPr>
          <a:xfrm>
            <a:off x="1164483" y="4092468"/>
            <a:ext cx="1447816" cy="461665"/>
          </a:xfrm>
          <a:prstGeom prst="rect">
            <a:avLst/>
          </a:prstGeom>
          <a:noFill/>
        </p:spPr>
        <p:txBody>
          <a:bodyPr wrap="square">
            <a:spAutoFit/>
          </a:bodyPr>
          <a:lstStyle/>
          <a:p>
            <a:pPr marL="17463" lvl="1" algn="ctr"/>
            <a:r>
              <a:rPr lang="en-US" altLang="en-US" sz="1200" dirty="0">
                <a:solidFill>
                  <a:srgbClr val="47B5C8"/>
                </a:solidFill>
              </a:rPr>
              <a:t>ANZUNEHMENDER ABSCHLUSS</a:t>
            </a:r>
            <a:endParaRPr lang="is-IS" altLang="en-US" sz="1200" dirty="0">
              <a:solidFill>
                <a:srgbClr val="47B5C8"/>
              </a:solidFill>
            </a:endParaRPr>
          </a:p>
        </p:txBody>
      </p:sp>
      <p:cxnSp>
        <p:nvCxnSpPr>
          <p:cNvPr id="5" name="Straight Connector 4">
            <a:extLst>
              <a:ext uri="{FF2B5EF4-FFF2-40B4-BE49-F238E27FC236}">
                <a16:creationId xmlns:a16="http://schemas.microsoft.com/office/drawing/2014/main" id="{4407558B-CE70-4C34-0495-5FB713400527}"/>
              </a:ext>
            </a:extLst>
          </p:cNvPr>
          <p:cNvCxnSpPr>
            <a:cxnSpLocks/>
          </p:cNvCxnSpPr>
          <p:nvPr/>
        </p:nvCxnSpPr>
        <p:spPr>
          <a:xfrm>
            <a:off x="381286" y="3429000"/>
            <a:ext cx="10660525"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51C01154-BAF5-429D-CCFD-593AFE52A0D5}"/>
              </a:ext>
            </a:extLst>
          </p:cNvPr>
          <p:cNvSpPr/>
          <p:nvPr/>
        </p:nvSpPr>
        <p:spPr>
          <a:xfrm>
            <a:off x="1263057" y="2772885"/>
            <a:ext cx="1127722" cy="1119596"/>
          </a:xfrm>
          <a:prstGeom prst="ellipse">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3" name="Oval 12">
            <a:extLst>
              <a:ext uri="{FF2B5EF4-FFF2-40B4-BE49-F238E27FC236}">
                <a16:creationId xmlns:a16="http://schemas.microsoft.com/office/drawing/2014/main" id="{AF70BB4C-F533-C805-8E41-7C60E5F92B8F}"/>
              </a:ext>
            </a:extLst>
          </p:cNvPr>
          <p:cNvSpPr/>
          <p:nvPr/>
        </p:nvSpPr>
        <p:spPr>
          <a:xfrm>
            <a:off x="3719188" y="2803881"/>
            <a:ext cx="1127721" cy="1119596"/>
          </a:xfrm>
          <a:prstGeom prst="ellipse">
            <a:avLst/>
          </a:pr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5" name="Oval 14">
            <a:extLst>
              <a:ext uri="{FF2B5EF4-FFF2-40B4-BE49-F238E27FC236}">
                <a16:creationId xmlns:a16="http://schemas.microsoft.com/office/drawing/2014/main" id="{8CA0C4C8-E2AE-F870-A921-B3E4B6A54B44}"/>
              </a:ext>
            </a:extLst>
          </p:cNvPr>
          <p:cNvSpPr/>
          <p:nvPr/>
        </p:nvSpPr>
        <p:spPr>
          <a:xfrm>
            <a:off x="6175319" y="2740545"/>
            <a:ext cx="1127722" cy="1119596"/>
          </a:xfrm>
          <a:prstGeom prst="ellipse">
            <a:avLst/>
          </a:pr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6" name="Oval 15">
            <a:extLst>
              <a:ext uri="{FF2B5EF4-FFF2-40B4-BE49-F238E27FC236}">
                <a16:creationId xmlns:a16="http://schemas.microsoft.com/office/drawing/2014/main" id="{29CE3B80-CE16-CCE4-08B1-4BCA7AB39393}"/>
              </a:ext>
            </a:extLst>
          </p:cNvPr>
          <p:cNvSpPr/>
          <p:nvPr/>
        </p:nvSpPr>
        <p:spPr>
          <a:xfrm>
            <a:off x="8444723" y="2671315"/>
            <a:ext cx="1127722" cy="111959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35" name="TextBox 34">
            <a:extLst>
              <a:ext uri="{FF2B5EF4-FFF2-40B4-BE49-F238E27FC236}">
                <a16:creationId xmlns:a16="http://schemas.microsoft.com/office/drawing/2014/main" id="{0B68FD6B-D72E-4E33-2480-F4AADE47AEB5}"/>
              </a:ext>
            </a:extLst>
          </p:cNvPr>
          <p:cNvSpPr txBox="1"/>
          <p:nvPr/>
        </p:nvSpPr>
        <p:spPr>
          <a:xfrm>
            <a:off x="3581383" y="4054119"/>
            <a:ext cx="1559959" cy="461665"/>
          </a:xfrm>
          <a:prstGeom prst="rect">
            <a:avLst/>
          </a:prstGeom>
          <a:noFill/>
        </p:spPr>
        <p:txBody>
          <a:bodyPr wrap="square">
            <a:spAutoFit/>
          </a:bodyPr>
          <a:lstStyle/>
          <a:p>
            <a:pPr marL="17463" lvl="1" algn="ctr"/>
            <a:r>
              <a:rPr lang="is-IS" altLang="en-US" sz="1200" dirty="0">
                <a:solidFill>
                  <a:srgbClr val="FDBD22"/>
                </a:solidFill>
              </a:rPr>
              <a:t>BEDINGTER ABSCHLUSS</a:t>
            </a:r>
          </a:p>
        </p:txBody>
      </p:sp>
      <p:sp>
        <p:nvSpPr>
          <p:cNvPr id="36" name="TextBox 35">
            <a:extLst>
              <a:ext uri="{FF2B5EF4-FFF2-40B4-BE49-F238E27FC236}">
                <a16:creationId xmlns:a16="http://schemas.microsoft.com/office/drawing/2014/main" id="{6ABFD330-474A-7DD1-34BD-DF47895C9E4B}"/>
              </a:ext>
            </a:extLst>
          </p:cNvPr>
          <p:cNvSpPr txBox="1"/>
          <p:nvPr/>
        </p:nvSpPr>
        <p:spPr>
          <a:xfrm>
            <a:off x="6072179" y="4054119"/>
            <a:ext cx="1377594" cy="461665"/>
          </a:xfrm>
          <a:prstGeom prst="rect">
            <a:avLst/>
          </a:prstGeom>
          <a:noFill/>
        </p:spPr>
        <p:txBody>
          <a:bodyPr wrap="square">
            <a:spAutoFit/>
          </a:bodyPr>
          <a:lstStyle/>
          <a:p>
            <a:pPr marL="17463" lvl="1" algn="ctr"/>
            <a:r>
              <a:rPr lang="en-US" altLang="en-US" sz="1200" dirty="0">
                <a:solidFill>
                  <a:srgbClr val="D9552F"/>
                </a:solidFill>
              </a:rPr>
              <a:t>BONUS SCHLIESSEN</a:t>
            </a:r>
            <a:endParaRPr lang="is-IS" altLang="en-US" sz="1200" dirty="0">
              <a:solidFill>
                <a:srgbClr val="D9552F"/>
              </a:solidFill>
            </a:endParaRPr>
          </a:p>
        </p:txBody>
      </p:sp>
      <p:sp>
        <p:nvSpPr>
          <p:cNvPr id="37" name="TextBox 36">
            <a:extLst>
              <a:ext uri="{FF2B5EF4-FFF2-40B4-BE49-F238E27FC236}">
                <a16:creationId xmlns:a16="http://schemas.microsoft.com/office/drawing/2014/main" id="{6C9C66EB-BD51-0B00-98E6-665908809798}"/>
              </a:ext>
            </a:extLst>
          </p:cNvPr>
          <p:cNvSpPr txBox="1"/>
          <p:nvPr/>
        </p:nvSpPr>
        <p:spPr>
          <a:xfrm>
            <a:off x="8143845" y="4054119"/>
            <a:ext cx="2007022" cy="461665"/>
          </a:xfrm>
          <a:prstGeom prst="rect">
            <a:avLst/>
          </a:prstGeom>
          <a:noFill/>
        </p:spPr>
        <p:txBody>
          <a:bodyPr wrap="square">
            <a:spAutoFit/>
          </a:bodyPr>
          <a:lstStyle/>
          <a:p>
            <a:pPr marL="17463" lvl="1" algn="ctr"/>
            <a:r>
              <a:rPr lang="en-US" altLang="en-US" sz="1200" dirty="0">
                <a:solidFill>
                  <a:srgbClr val="DE0A1D"/>
                </a:solidFill>
              </a:rPr>
              <a:t>KUNDENREFERENZ SCHLIESSEN</a:t>
            </a:r>
            <a:endParaRPr lang="is-IS" altLang="en-US" sz="1200" dirty="0">
              <a:solidFill>
                <a:srgbClr val="DE0A1D"/>
              </a:solidFill>
            </a:endParaRPr>
          </a:p>
        </p:txBody>
      </p:sp>
      <p:sp>
        <p:nvSpPr>
          <p:cNvPr id="3" name="Google Shape;232;p8">
            <a:extLst>
              <a:ext uri="{FF2B5EF4-FFF2-40B4-BE49-F238E27FC236}">
                <a16:creationId xmlns:a16="http://schemas.microsoft.com/office/drawing/2014/main" id="{5C1722B2-2672-2946-49D7-DA8D84DCCE32}"/>
              </a:ext>
            </a:extLst>
          </p:cNvPr>
          <p:cNvSpPr/>
          <p:nvPr/>
        </p:nvSpPr>
        <p:spPr>
          <a:xfrm>
            <a:off x="1445883" y="3164150"/>
            <a:ext cx="674968" cy="431840"/>
          </a:xfrm>
          <a:custGeom>
            <a:avLst/>
            <a:gdLst/>
            <a:ahLst/>
            <a:cxnLst/>
            <a:rect l="l" t="t" r="r" b="b"/>
            <a:pathLst>
              <a:path w="6674" h="4270" extrusionOk="0">
                <a:moveTo>
                  <a:pt x="3058" y="578"/>
                </a:moveTo>
                <a:lnTo>
                  <a:pt x="3132" y="672"/>
                </a:lnTo>
                <a:lnTo>
                  <a:pt x="3207" y="765"/>
                </a:lnTo>
                <a:lnTo>
                  <a:pt x="3244" y="895"/>
                </a:lnTo>
                <a:lnTo>
                  <a:pt x="3244" y="1026"/>
                </a:lnTo>
                <a:lnTo>
                  <a:pt x="3225" y="1156"/>
                </a:lnTo>
                <a:lnTo>
                  <a:pt x="3188" y="1268"/>
                </a:lnTo>
                <a:lnTo>
                  <a:pt x="3132" y="1380"/>
                </a:lnTo>
                <a:lnTo>
                  <a:pt x="3058" y="1473"/>
                </a:lnTo>
                <a:lnTo>
                  <a:pt x="2965" y="1566"/>
                </a:lnTo>
                <a:lnTo>
                  <a:pt x="2853" y="1622"/>
                </a:lnTo>
                <a:lnTo>
                  <a:pt x="2722" y="1659"/>
                </a:lnTo>
                <a:lnTo>
                  <a:pt x="2592" y="1678"/>
                </a:lnTo>
                <a:lnTo>
                  <a:pt x="2461" y="1659"/>
                </a:lnTo>
                <a:lnTo>
                  <a:pt x="2349" y="1622"/>
                </a:lnTo>
                <a:lnTo>
                  <a:pt x="2238" y="1566"/>
                </a:lnTo>
                <a:lnTo>
                  <a:pt x="2144" y="1473"/>
                </a:lnTo>
                <a:lnTo>
                  <a:pt x="2051" y="1380"/>
                </a:lnTo>
                <a:lnTo>
                  <a:pt x="1995" y="1268"/>
                </a:lnTo>
                <a:lnTo>
                  <a:pt x="1958" y="1156"/>
                </a:lnTo>
                <a:lnTo>
                  <a:pt x="1958" y="1026"/>
                </a:lnTo>
                <a:lnTo>
                  <a:pt x="1865" y="1193"/>
                </a:lnTo>
                <a:lnTo>
                  <a:pt x="1809" y="1380"/>
                </a:lnTo>
                <a:lnTo>
                  <a:pt x="1772" y="1566"/>
                </a:lnTo>
                <a:lnTo>
                  <a:pt x="1772" y="1771"/>
                </a:lnTo>
                <a:lnTo>
                  <a:pt x="1772" y="1920"/>
                </a:lnTo>
                <a:lnTo>
                  <a:pt x="1790" y="2088"/>
                </a:lnTo>
                <a:lnTo>
                  <a:pt x="1827" y="2237"/>
                </a:lnTo>
                <a:lnTo>
                  <a:pt x="1883" y="2386"/>
                </a:lnTo>
                <a:lnTo>
                  <a:pt x="1958" y="2517"/>
                </a:lnTo>
                <a:lnTo>
                  <a:pt x="2033" y="2647"/>
                </a:lnTo>
                <a:lnTo>
                  <a:pt x="2126" y="2759"/>
                </a:lnTo>
                <a:lnTo>
                  <a:pt x="2219" y="2871"/>
                </a:lnTo>
                <a:lnTo>
                  <a:pt x="2331" y="2983"/>
                </a:lnTo>
                <a:lnTo>
                  <a:pt x="2461" y="3076"/>
                </a:lnTo>
                <a:lnTo>
                  <a:pt x="2592" y="3151"/>
                </a:lnTo>
                <a:lnTo>
                  <a:pt x="2722" y="3225"/>
                </a:lnTo>
                <a:lnTo>
                  <a:pt x="2871" y="3263"/>
                </a:lnTo>
                <a:lnTo>
                  <a:pt x="3020" y="3318"/>
                </a:lnTo>
                <a:lnTo>
                  <a:pt x="3188" y="3337"/>
                </a:lnTo>
                <a:lnTo>
                  <a:pt x="3505" y="3337"/>
                </a:lnTo>
                <a:lnTo>
                  <a:pt x="3654" y="3318"/>
                </a:lnTo>
                <a:lnTo>
                  <a:pt x="3803" y="3263"/>
                </a:lnTo>
                <a:lnTo>
                  <a:pt x="3952" y="3225"/>
                </a:lnTo>
                <a:lnTo>
                  <a:pt x="4102" y="3151"/>
                </a:lnTo>
                <a:lnTo>
                  <a:pt x="4232" y="3076"/>
                </a:lnTo>
                <a:lnTo>
                  <a:pt x="4344" y="2983"/>
                </a:lnTo>
                <a:lnTo>
                  <a:pt x="4456" y="2871"/>
                </a:lnTo>
                <a:lnTo>
                  <a:pt x="4568" y="2759"/>
                </a:lnTo>
                <a:lnTo>
                  <a:pt x="4642" y="2647"/>
                </a:lnTo>
                <a:lnTo>
                  <a:pt x="4735" y="2517"/>
                </a:lnTo>
                <a:lnTo>
                  <a:pt x="4791" y="2386"/>
                </a:lnTo>
                <a:lnTo>
                  <a:pt x="4847" y="2237"/>
                </a:lnTo>
                <a:lnTo>
                  <a:pt x="4884" y="2088"/>
                </a:lnTo>
                <a:lnTo>
                  <a:pt x="4903" y="1920"/>
                </a:lnTo>
                <a:lnTo>
                  <a:pt x="4922" y="1771"/>
                </a:lnTo>
                <a:lnTo>
                  <a:pt x="4922" y="1622"/>
                </a:lnTo>
                <a:lnTo>
                  <a:pt x="4903" y="1492"/>
                </a:lnTo>
                <a:lnTo>
                  <a:pt x="4829" y="1249"/>
                </a:lnTo>
                <a:lnTo>
                  <a:pt x="4735" y="1026"/>
                </a:lnTo>
                <a:lnTo>
                  <a:pt x="4586" y="802"/>
                </a:lnTo>
                <a:lnTo>
                  <a:pt x="4829" y="914"/>
                </a:lnTo>
                <a:lnTo>
                  <a:pt x="5052" y="1044"/>
                </a:lnTo>
                <a:lnTo>
                  <a:pt x="5276" y="1193"/>
                </a:lnTo>
                <a:lnTo>
                  <a:pt x="5462" y="1343"/>
                </a:lnTo>
                <a:lnTo>
                  <a:pt x="5667" y="1529"/>
                </a:lnTo>
                <a:lnTo>
                  <a:pt x="5835" y="1715"/>
                </a:lnTo>
                <a:lnTo>
                  <a:pt x="5984" y="1920"/>
                </a:lnTo>
                <a:lnTo>
                  <a:pt x="6133" y="2144"/>
                </a:lnTo>
                <a:lnTo>
                  <a:pt x="6021" y="2312"/>
                </a:lnTo>
                <a:lnTo>
                  <a:pt x="5891" y="2480"/>
                </a:lnTo>
                <a:lnTo>
                  <a:pt x="5761" y="2629"/>
                </a:lnTo>
                <a:lnTo>
                  <a:pt x="5630" y="2778"/>
                </a:lnTo>
                <a:lnTo>
                  <a:pt x="5481" y="2927"/>
                </a:lnTo>
                <a:lnTo>
                  <a:pt x="5313" y="3057"/>
                </a:lnTo>
                <a:lnTo>
                  <a:pt x="5145" y="3169"/>
                </a:lnTo>
                <a:lnTo>
                  <a:pt x="4978" y="3281"/>
                </a:lnTo>
                <a:lnTo>
                  <a:pt x="4791" y="3374"/>
                </a:lnTo>
                <a:lnTo>
                  <a:pt x="4605" y="3468"/>
                </a:lnTo>
                <a:lnTo>
                  <a:pt x="4400" y="3542"/>
                </a:lnTo>
                <a:lnTo>
                  <a:pt x="4195" y="3598"/>
                </a:lnTo>
                <a:lnTo>
                  <a:pt x="3990" y="3654"/>
                </a:lnTo>
                <a:lnTo>
                  <a:pt x="3785" y="3691"/>
                </a:lnTo>
                <a:lnTo>
                  <a:pt x="3561" y="3710"/>
                </a:lnTo>
                <a:lnTo>
                  <a:pt x="3114" y="3710"/>
                </a:lnTo>
                <a:lnTo>
                  <a:pt x="2909" y="3691"/>
                </a:lnTo>
                <a:lnTo>
                  <a:pt x="2685" y="3654"/>
                </a:lnTo>
                <a:lnTo>
                  <a:pt x="2480" y="3598"/>
                </a:lnTo>
                <a:lnTo>
                  <a:pt x="2275" y="3542"/>
                </a:lnTo>
                <a:lnTo>
                  <a:pt x="2088" y="3468"/>
                </a:lnTo>
                <a:lnTo>
                  <a:pt x="1902" y="3374"/>
                </a:lnTo>
                <a:lnTo>
                  <a:pt x="1716" y="3281"/>
                </a:lnTo>
                <a:lnTo>
                  <a:pt x="1529" y="3169"/>
                </a:lnTo>
                <a:lnTo>
                  <a:pt x="1361" y="3057"/>
                </a:lnTo>
                <a:lnTo>
                  <a:pt x="1212" y="2927"/>
                </a:lnTo>
                <a:lnTo>
                  <a:pt x="1063" y="2778"/>
                </a:lnTo>
                <a:lnTo>
                  <a:pt x="914" y="2629"/>
                </a:lnTo>
                <a:lnTo>
                  <a:pt x="784" y="2480"/>
                </a:lnTo>
                <a:lnTo>
                  <a:pt x="672" y="2312"/>
                </a:lnTo>
                <a:lnTo>
                  <a:pt x="560" y="2144"/>
                </a:lnTo>
                <a:lnTo>
                  <a:pt x="653" y="1976"/>
                </a:lnTo>
                <a:lnTo>
                  <a:pt x="765" y="1827"/>
                </a:lnTo>
                <a:lnTo>
                  <a:pt x="1007" y="1529"/>
                </a:lnTo>
                <a:lnTo>
                  <a:pt x="1287" y="1287"/>
                </a:lnTo>
                <a:lnTo>
                  <a:pt x="1436" y="1175"/>
                </a:lnTo>
                <a:lnTo>
                  <a:pt x="1604" y="1063"/>
                </a:lnTo>
                <a:lnTo>
                  <a:pt x="1772" y="970"/>
                </a:lnTo>
                <a:lnTo>
                  <a:pt x="1939" y="877"/>
                </a:lnTo>
                <a:lnTo>
                  <a:pt x="2107" y="802"/>
                </a:lnTo>
                <a:lnTo>
                  <a:pt x="2293" y="727"/>
                </a:lnTo>
                <a:lnTo>
                  <a:pt x="2480" y="672"/>
                </a:lnTo>
                <a:lnTo>
                  <a:pt x="2666" y="634"/>
                </a:lnTo>
                <a:lnTo>
                  <a:pt x="2871" y="597"/>
                </a:lnTo>
                <a:lnTo>
                  <a:pt x="3058" y="578"/>
                </a:lnTo>
                <a:close/>
                <a:moveTo>
                  <a:pt x="3337" y="1"/>
                </a:moveTo>
                <a:lnTo>
                  <a:pt x="3076" y="19"/>
                </a:lnTo>
                <a:lnTo>
                  <a:pt x="2834" y="38"/>
                </a:lnTo>
                <a:lnTo>
                  <a:pt x="2573" y="75"/>
                </a:lnTo>
                <a:lnTo>
                  <a:pt x="2331" y="131"/>
                </a:lnTo>
                <a:lnTo>
                  <a:pt x="2107" y="206"/>
                </a:lnTo>
                <a:lnTo>
                  <a:pt x="1865" y="299"/>
                </a:lnTo>
                <a:lnTo>
                  <a:pt x="1641" y="392"/>
                </a:lnTo>
                <a:lnTo>
                  <a:pt x="1436" y="504"/>
                </a:lnTo>
                <a:lnTo>
                  <a:pt x="1231" y="634"/>
                </a:lnTo>
                <a:lnTo>
                  <a:pt x="1026" y="783"/>
                </a:lnTo>
                <a:lnTo>
                  <a:pt x="840" y="933"/>
                </a:lnTo>
                <a:lnTo>
                  <a:pt x="672" y="1100"/>
                </a:lnTo>
                <a:lnTo>
                  <a:pt x="504" y="1268"/>
                </a:lnTo>
                <a:lnTo>
                  <a:pt x="355" y="1454"/>
                </a:lnTo>
                <a:lnTo>
                  <a:pt x="206" y="1641"/>
                </a:lnTo>
                <a:lnTo>
                  <a:pt x="75" y="1846"/>
                </a:lnTo>
                <a:lnTo>
                  <a:pt x="19" y="1995"/>
                </a:lnTo>
                <a:lnTo>
                  <a:pt x="1" y="2144"/>
                </a:lnTo>
                <a:lnTo>
                  <a:pt x="19" y="2275"/>
                </a:lnTo>
                <a:lnTo>
                  <a:pt x="75" y="2424"/>
                </a:lnTo>
                <a:lnTo>
                  <a:pt x="206" y="2629"/>
                </a:lnTo>
                <a:lnTo>
                  <a:pt x="355" y="2815"/>
                </a:lnTo>
                <a:lnTo>
                  <a:pt x="504" y="3002"/>
                </a:lnTo>
                <a:lnTo>
                  <a:pt x="672" y="3169"/>
                </a:lnTo>
                <a:lnTo>
                  <a:pt x="840" y="3337"/>
                </a:lnTo>
                <a:lnTo>
                  <a:pt x="1026" y="3486"/>
                </a:lnTo>
                <a:lnTo>
                  <a:pt x="1231" y="3635"/>
                </a:lnTo>
                <a:lnTo>
                  <a:pt x="1436" y="3766"/>
                </a:lnTo>
                <a:lnTo>
                  <a:pt x="1641" y="3878"/>
                </a:lnTo>
                <a:lnTo>
                  <a:pt x="1865" y="3971"/>
                </a:lnTo>
                <a:lnTo>
                  <a:pt x="2107" y="4064"/>
                </a:lnTo>
                <a:lnTo>
                  <a:pt x="2331" y="4139"/>
                </a:lnTo>
                <a:lnTo>
                  <a:pt x="2573" y="4195"/>
                </a:lnTo>
                <a:lnTo>
                  <a:pt x="2834" y="4232"/>
                </a:lnTo>
                <a:lnTo>
                  <a:pt x="3076" y="4269"/>
                </a:lnTo>
                <a:lnTo>
                  <a:pt x="3598" y="4269"/>
                </a:lnTo>
                <a:lnTo>
                  <a:pt x="3859" y="4232"/>
                </a:lnTo>
                <a:lnTo>
                  <a:pt x="4102" y="4195"/>
                </a:lnTo>
                <a:lnTo>
                  <a:pt x="4344" y="4139"/>
                </a:lnTo>
                <a:lnTo>
                  <a:pt x="4586" y="4064"/>
                </a:lnTo>
                <a:lnTo>
                  <a:pt x="4810" y="3971"/>
                </a:lnTo>
                <a:lnTo>
                  <a:pt x="5034" y="3878"/>
                </a:lnTo>
                <a:lnTo>
                  <a:pt x="5257" y="3766"/>
                </a:lnTo>
                <a:lnTo>
                  <a:pt x="5462" y="3635"/>
                </a:lnTo>
                <a:lnTo>
                  <a:pt x="5649" y="3486"/>
                </a:lnTo>
                <a:lnTo>
                  <a:pt x="5835" y="3337"/>
                </a:lnTo>
                <a:lnTo>
                  <a:pt x="6021" y="3169"/>
                </a:lnTo>
                <a:lnTo>
                  <a:pt x="6189" y="3002"/>
                </a:lnTo>
                <a:lnTo>
                  <a:pt x="6338" y="2815"/>
                </a:lnTo>
                <a:lnTo>
                  <a:pt x="6469" y="2629"/>
                </a:lnTo>
                <a:lnTo>
                  <a:pt x="6599" y="2424"/>
                </a:lnTo>
                <a:lnTo>
                  <a:pt x="6655" y="2275"/>
                </a:lnTo>
                <a:lnTo>
                  <a:pt x="6674" y="2144"/>
                </a:lnTo>
                <a:lnTo>
                  <a:pt x="6655" y="1995"/>
                </a:lnTo>
                <a:lnTo>
                  <a:pt x="6599" y="1846"/>
                </a:lnTo>
                <a:lnTo>
                  <a:pt x="6469" y="1641"/>
                </a:lnTo>
                <a:lnTo>
                  <a:pt x="6338" y="1454"/>
                </a:lnTo>
                <a:lnTo>
                  <a:pt x="6171" y="1268"/>
                </a:lnTo>
                <a:lnTo>
                  <a:pt x="6021" y="1100"/>
                </a:lnTo>
                <a:lnTo>
                  <a:pt x="5835" y="933"/>
                </a:lnTo>
                <a:lnTo>
                  <a:pt x="5649" y="783"/>
                </a:lnTo>
                <a:lnTo>
                  <a:pt x="5462" y="634"/>
                </a:lnTo>
                <a:lnTo>
                  <a:pt x="5257" y="504"/>
                </a:lnTo>
                <a:lnTo>
                  <a:pt x="5034" y="392"/>
                </a:lnTo>
                <a:lnTo>
                  <a:pt x="4810" y="299"/>
                </a:lnTo>
                <a:lnTo>
                  <a:pt x="4586" y="206"/>
                </a:lnTo>
                <a:lnTo>
                  <a:pt x="4344" y="131"/>
                </a:lnTo>
                <a:lnTo>
                  <a:pt x="4102" y="75"/>
                </a:lnTo>
                <a:lnTo>
                  <a:pt x="3859" y="38"/>
                </a:lnTo>
                <a:lnTo>
                  <a:pt x="3598" y="19"/>
                </a:lnTo>
                <a:lnTo>
                  <a:pt x="3337"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6;p7">
            <a:extLst>
              <a:ext uri="{FF2B5EF4-FFF2-40B4-BE49-F238E27FC236}">
                <a16:creationId xmlns:a16="http://schemas.microsoft.com/office/drawing/2014/main" id="{2E676BE1-2C60-1442-BBAF-4BBD6B5BCC4F}"/>
              </a:ext>
            </a:extLst>
          </p:cNvPr>
          <p:cNvSpPr/>
          <p:nvPr/>
        </p:nvSpPr>
        <p:spPr>
          <a:xfrm>
            <a:off x="6459879" y="2908191"/>
            <a:ext cx="602193" cy="604020"/>
          </a:xfrm>
          <a:custGeom>
            <a:avLst/>
            <a:gdLst/>
            <a:ahLst/>
            <a:cxnLst/>
            <a:rect l="l" t="t" r="r" b="b"/>
            <a:pathLst>
              <a:path w="5929" h="5947" extrusionOk="0">
                <a:moveTo>
                  <a:pt x="784" y="4940"/>
                </a:moveTo>
                <a:lnTo>
                  <a:pt x="839" y="4958"/>
                </a:lnTo>
                <a:lnTo>
                  <a:pt x="933" y="5014"/>
                </a:lnTo>
                <a:lnTo>
                  <a:pt x="989" y="5107"/>
                </a:lnTo>
                <a:lnTo>
                  <a:pt x="1007" y="5145"/>
                </a:lnTo>
                <a:lnTo>
                  <a:pt x="1007" y="5201"/>
                </a:lnTo>
                <a:lnTo>
                  <a:pt x="1007" y="5257"/>
                </a:lnTo>
                <a:lnTo>
                  <a:pt x="989" y="5313"/>
                </a:lnTo>
                <a:lnTo>
                  <a:pt x="933" y="5406"/>
                </a:lnTo>
                <a:lnTo>
                  <a:pt x="839" y="5462"/>
                </a:lnTo>
                <a:lnTo>
                  <a:pt x="784" y="5480"/>
                </a:lnTo>
                <a:lnTo>
                  <a:pt x="672" y="5480"/>
                </a:lnTo>
                <a:lnTo>
                  <a:pt x="634" y="5462"/>
                </a:lnTo>
                <a:lnTo>
                  <a:pt x="541" y="5406"/>
                </a:lnTo>
                <a:lnTo>
                  <a:pt x="485" y="5313"/>
                </a:lnTo>
                <a:lnTo>
                  <a:pt x="467" y="5257"/>
                </a:lnTo>
                <a:lnTo>
                  <a:pt x="448" y="5201"/>
                </a:lnTo>
                <a:lnTo>
                  <a:pt x="467" y="5145"/>
                </a:lnTo>
                <a:lnTo>
                  <a:pt x="485" y="5107"/>
                </a:lnTo>
                <a:lnTo>
                  <a:pt x="541" y="5014"/>
                </a:lnTo>
                <a:lnTo>
                  <a:pt x="634" y="4958"/>
                </a:lnTo>
                <a:lnTo>
                  <a:pt x="672" y="4940"/>
                </a:lnTo>
                <a:close/>
                <a:moveTo>
                  <a:pt x="206" y="2610"/>
                </a:moveTo>
                <a:lnTo>
                  <a:pt x="168" y="2628"/>
                </a:lnTo>
                <a:lnTo>
                  <a:pt x="75" y="2684"/>
                </a:lnTo>
                <a:lnTo>
                  <a:pt x="19" y="2777"/>
                </a:lnTo>
                <a:lnTo>
                  <a:pt x="1" y="2833"/>
                </a:lnTo>
                <a:lnTo>
                  <a:pt x="1" y="2889"/>
                </a:lnTo>
                <a:lnTo>
                  <a:pt x="1" y="5667"/>
                </a:lnTo>
                <a:lnTo>
                  <a:pt x="1" y="5723"/>
                </a:lnTo>
                <a:lnTo>
                  <a:pt x="19" y="5779"/>
                </a:lnTo>
                <a:lnTo>
                  <a:pt x="75" y="5872"/>
                </a:lnTo>
                <a:lnTo>
                  <a:pt x="168" y="5928"/>
                </a:lnTo>
                <a:lnTo>
                  <a:pt x="206" y="5946"/>
                </a:lnTo>
                <a:lnTo>
                  <a:pt x="1250" y="5946"/>
                </a:lnTo>
                <a:lnTo>
                  <a:pt x="1305" y="5928"/>
                </a:lnTo>
                <a:lnTo>
                  <a:pt x="1399" y="5872"/>
                </a:lnTo>
                <a:lnTo>
                  <a:pt x="1455" y="5779"/>
                </a:lnTo>
                <a:lnTo>
                  <a:pt x="1473" y="5723"/>
                </a:lnTo>
                <a:lnTo>
                  <a:pt x="1473" y="5667"/>
                </a:lnTo>
                <a:lnTo>
                  <a:pt x="1473" y="2889"/>
                </a:lnTo>
                <a:lnTo>
                  <a:pt x="1473" y="2833"/>
                </a:lnTo>
                <a:lnTo>
                  <a:pt x="1455" y="2777"/>
                </a:lnTo>
                <a:lnTo>
                  <a:pt x="1399" y="2684"/>
                </a:lnTo>
                <a:lnTo>
                  <a:pt x="1305" y="2628"/>
                </a:lnTo>
                <a:lnTo>
                  <a:pt x="1250" y="2610"/>
                </a:lnTo>
                <a:close/>
                <a:moveTo>
                  <a:pt x="3617" y="0"/>
                </a:moveTo>
                <a:lnTo>
                  <a:pt x="3524" y="19"/>
                </a:lnTo>
                <a:lnTo>
                  <a:pt x="3468" y="75"/>
                </a:lnTo>
                <a:lnTo>
                  <a:pt x="3393" y="168"/>
                </a:lnTo>
                <a:lnTo>
                  <a:pt x="3337" y="261"/>
                </a:lnTo>
                <a:lnTo>
                  <a:pt x="3263" y="485"/>
                </a:lnTo>
                <a:lnTo>
                  <a:pt x="3225" y="671"/>
                </a:lnTo>
                <a:lnTo>
                  <a:pt x="3169" y="858"/>
                </a:lnTo>
                <a:lnTo>
                  <a:pt x="3114" y="1044"/>
                </a:lnTo>
                <a:lnTo>
                  <a:pt x="3039" y="1212"/>
                </a:lnTo>
                <a:lnTo>
                  <a:pt x="2983" y="1286"/>
                </a:lnTo>
                <a:lnTo>
                  <a:pt x="2927" y="1361"/>
                </a:lnTo>
                <a:lnTo>
                  <a:pt x="2797" y="1510"/>
                </a:lnTo>
                <a:lnTo>
                  <a:pt x="2666" y="1659"/>
                </a:lnTo>
                <a:lnTo>
                  <a:pt x="2442" y="1995"/>
                </a:lnTo>
                <a:lnTo>
                  <a:pt x="2200" y="2330"/>
                </a:lnTo>
                <a:lnTo>
                  <a:pt x="2051" y="2498"/>
                </a:lnTo>
                <a:lnTo>
                  <a:pt x="1883" y="2666"/>
                </a:lnTo>
                <a:lnTo>
                  <a:pt x="1865" y="2722"/>
                </a:lnTo>
                <a:lnTo>
                  <a:pt x="1846" y="2777"/>
                </a:lnTo>
                <a:lnTo>
                  <a:pt x="1846" y="5257"/>
                </a:lnTo>
                <a:lnTo>
                  <a:pt x="1865" y="5313"/>
                </a:lnTo>
                <a:lnTo>
                  <a:pt x="1883" y="5350"/>
                </a:lnTo>
                <a:lnTo>
                  <a:pt x="1939" y="5387"/>
                </a:lnTo>
                <a:lnTo>
                  <a:pt x="1995" y="5387"/>
                </a:lnTo>
                <a:lnTo>
                  <a:pt x="2126" y="5406"/>
                </a:lnTo>
                <a:lnTo>
                  <a:pt x="2293" y="5462"/>
                </a:lnTo>
                <a:lnTo>
                  <a:pt x="2592" y="5573"/>
                </a:lnTo>
                <a:lnTo>
                  <a:pt x="2890" y="5704"/>
                </a:lnTo>
                <a:lnTo>
                  <a:pt x="3225" y="5816"/>
                </a:lnTo>
                <a:lnTo>
                  <a:pt x="3393" y="5872"/>
                </a:lnTo>
                <a:lnTo>
                  <a:pt x="3580" y="5909"/>
                </a:lnTo>
                <a:lnTo>
                  <a:pt x="3785" y="5946"/>
                </a:lnTo>
                <a:lnTo>
                  <a:pt x="4400" y="5946"/>
                </a:lnTo>
                <a:lnTo>
                  <a:pt x="4586" y="5928"/>
                </a:lnTo>
                <a:lnTo>
                  <a:pt x="4772" y="5909"/>
                </a:lnTo>
                <a:lnTo>
                  <a:pt x="4940" y="5853"/>
                </a:lnTo>
                <a:lnTo>
                  <a:pt x="5108" y="5797"/>
                </a:lnTo>
                <a:lnTo>
                  <a:pt x="5238" y="5723"/>
                </a:lnTo>
                <a:lnTo>
                  <a:pt x="5332" y="5611"/>
                </a:lnTo>
                <a:lnTo>
                  <a:pt x="5388" y="5499"/>
                </a:lnTo>
                <a:lnTo>
                  <a:pt x="5425" y="5368"/>
                </a:lnTo>
                <a:lnTo>
                  <a:pt x="5425" y="5238"/>
                </a:lnTo>
                <a:lnTo>
                  <a:pt x="5406" y="5089"/>
                </a:lnTo>
                <a:lnTo>
                  <a:pt x="5481" y="4996"/>
                </a:lnTo>
                <a:lnTo>
                  <a:pt x="5537" y="4902"/>
                </a:lnTo>
                <a:lnTo>
                  <a:pt x="5574" y="4809"/>
                </a:lnTo>
                <a:lnTo>
                  <a:pt x="5611" y="4697"/>
                </a:lnTo>
                <a:lnTo>
                  <a:pt x="5630" y="4567"/>
                </a:lnTo>
                <a:lnTo>
                  <a:pt x="5630" y="4455"/>
                </a:lnTo>
                <a:lnTo>
                  <a:pt x="5630" y="4325"/>
                </a:lnTo>
                <a:lnTo>
                  <a:pt x="5593" y="4213"/>
                </a:lnTo>
                <a:lnTo>
                  <a:pt x="5667" y="4101"/>
                </a:lnTo>
                <a:lnTo>
                  <a:pt x="5723" y="3989"/>
                </a:lnTo>
                <a:lnTo>
                  <a:pt x="5742" y="3877"/>
                </a:lnTo>
                <a:lnTo>
                  <a:pt x="5779" y="3747"/>
                </a:lnTo>
                <a:lnTo>
                  <a:pt x="5779" y="3635"/>
                </a:lnTo>
                <a:lnTo>
                  <a:pt x="5760" y="3523"/>
                </a:lnTo>
                <a:lnTo>
                  <a:pt x="5742" y="3393"/>
                </a:lnTo>
                <a:lnTo>
                  <a:pt x="5704" y="3299"/>
                </a:lnTo>
                <a:lnTo>
                  <a:pt x="5798" y="3169"/>
                </a:lnTo>
                <a:lnTo>
                  <a:pt x="5872" y="3038"/>
                </a:lnTo>
                <a:lnTo>
                  <a:pt x="5909" y="2889"/>
                </a:lnTo>
                <a:lnTo>
                  <a:pt x="5928" y="2722"/>
                </a:lnTo>
                <a:lnTo>
                  <a:pt x="5909" y="2591"/>
                </a:lnTo>
                <a:lnTo>
                  <a:pt x="5872" y="2461"/>
                </a:lnTo>
                <a:lnTo>
                  <a:pt x="5816" y="2349"/>
                </a:lnTo>
                <a:lnTo>
                  <a:pt x="5723" y="2256"/>
                </a:lnTo>
                <a:lnTo>
                  <a:pt x="5630" y="2162"/>
                </a:lnTo>
                <a:lnTo>
                  <a:pt x="5518" y="2106"/>
                </a:lnTo>
                <a:lnTo>
                  <a:pt x="5388" y="2069"/>
                </a:lnTo>
                <a:lnTo>
                  <a:pt x="5238" y="2051"/>
                </a:lnTo>
                <a:lnTo>
                  <a:pt x="4064" y="2051"/>
                </a:lnTo>
                <a:lnTo>
                  <a:pt x="4101" y="1920"/>
                </a:lnTo>
                <a:lnTo>
                  <a:pt x="4157" y="1808"/>
                </a:lnTo>
                <a:lnTo>
                  <a:pt x="4288" y="1566"/>
                </a:lnTo>
                <a:lnTo>
                  <a:pt x="4344" y="1435"/>
                </a:lnTo>
                <a:lnTo>
                  <a:pt x="4400" y="1286"/>
                </a:lnTo>
                <a:lnTo>
                  <a:pt x="4437" y="1119"/>
                </a:lnTo>
                <a:lnTo>
                  <a:pt x="4456" y="951"/>
                </a:lnTo>
                <a:lnTo>
                  <a:pt x="4437" y="802"/>
                </a:lnTo>
                <a:lnTo>
                  <a:pt x="4418" y="671"/>
                </a:lnTo>
                <a:lnTo>
                  <a:pt x="4400" y="541"/>
                </a:lnTo>
                <a:lnTo>
                  <a:pt x="4362" y="447"/>
                </a:lnTo>
                <a:lnTo>
                  <a:pt x="4306" y="354"/>
                </a:lnTo>
                <a:lnTo>
                  <a:pt x="4251" y="280"/>
                </a:lnTo>
                <a:lnTo>
                  <a:pt x="4195" y="205"/>
                </a:lnTo>
                <a:lnTo>
                  <a:pt x="4139" y="168"/>
                </a:lnTo>
                <a:lnTo>
                  <a:pt x="3990" y="75"/>
                </a:lnTo>
                <a:lnTo>
                  <a:pt x="3859" y="37"/>
                </a:lnTo>
                <a:lnTo>
                  <a:pt x="3729" y="19"/>
                </a:lnTo>
                <a:lnTo>
                  <a:pt x="3617" y="0"/>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13;p8">
            <a:extLst>
              <a:ext uri="{FF2B5EF4-FFF2-40B4-BE49-F238E27FC236}">
                <a16:creationId xmlns:a16="http://schemas.microsoft.com/office/drawing/2014/main" id="{179DE9F5-D5B3-A852-A5FD-6347EED1E939}"/>
              </a:ext>
            </a:extLst>
          </p:cNvPr>
          <p:cNvSpPr/>
          <p:nvPr/>
        </p:nvSpPr>
        <p:spPr>
          <a:xfrm>
            <a:off x="3976736" y="3150648"/>
            <a:ext cx="566898" cy="440611"/>
          </a:xfrm>
          <a:custGeom>
            <a:avLst/>
            <a:gdLst/>
            <a:ahLst/>
            <a:cxnLst/>
            <a:rect l="l" t="t" r="r" b="b"/>
            <a:pathLst>
              <a:path w="6693" h="5202" extrusionOk="0">
                <a:moveTo>
                  <a:pt x="2424" y="1"/>
                </a:moveTo>
                <a:lnTo>
                  <a:pt x="2163" y="19"/>
                </a:lnTo>
                <a:lnTo>
                  <a:pt x="1939" y="38"/>
                </a:lnTo>
                <a:lnTo>
                  <a:pt x="1697" y="94"/>
                </a:lnTo>
                <a:lnTo>
                  <a:pt x="1473" y="150"/>
                </a:lnTo>
                <a:lnTo>
                  <a:pt x="1268" y="224"/>
                </a:lnTo>
                <a:lnTo>
                  <a:pt x="1063" y="318"/>
                </a:lnTo>
                <a:lnTo>
                  <a:pt x="877" y="429"/>
                </a:lnTo>
                <a:lnTo>
                  <a:pt x="709" y="541"/>
                </a:lnTo>
                <a:lnTo>
                  <a:pt x="560" y="672"/>
                </a:lnTo>
                <a:lnTo>
                  <a:pt x="411" y="821"/>
                </a:lnTo>
                <a:lnTo>
                  <a:pt x="299" y="970"/>
                </a:lnTo>
                <a:lnTo>
                  <a:pt x="187" y="1138"/>
                </a:lnTo>
                <a:lnTo>
                  <a:pt x="113" y="1305"/>
                </a:lnTo>
                <a:lnTo>
                  <a:pt x="57" y="1492"/>
                </a:lnTo>
                <a:lnTo>
                  <a:pt x="19" y="1678"/>
                </a:lnTo>
                <a:lnTo>
                  <a:pt x="1" y="1865"/>
                </a:lnTo>
                <a:lnTo>
                  <a:pt x="19" y="2014"/>
                </a:lnTo>
                <a:lnTo>
                  <a:pt x="38" y="2144"/>
                </a:lnTo>
                <a:lnTo>
                  <a:pt x="75" y="2293"/>
                </a:lnTo>
                <a:lnTo>
                  <a:pt x="131" y="2424"/>
                </a:lnTo>
                <a:lnTo>
                  <a:pt x="187" y="2554"/>
                </a:lnTo>
                <a:lnTo>
                  <a:pt x="262" y="2685"/>
                </a:lnTo>
                <a:lnTo>
                  <a:pt x="355" y="2815"/>
                </a:lnTo>
                <a:lnTo>
                  <a:pt x="448" y="2927"/>
                </a:lnTo>
                <a:lnTo>
                  <a:pt x="318" y="3169"/>
                </a:lnTo>
                <a:lnTo>
                  <a:pt x="187" y="3375"/>
                </a:lnTo>
                <a:lnTo>
                  <a:pt x="38" y="3561"/>
                </a:lnTo>
                <a:lnTo>
                  <a:pt x="1" y="3617"/>
                </a:lnTo>
                <a:lnTo>
                  <a:pt x="19" y="3654"/>
                </a:lnTo>
                <a:lnTo>
                  <a:pt x="57" y="3710"/>
                </a:lnTo>
                <a:lnTo>
                  <a:pt x="262" y="3710"/>
                </a:lnTo>
                <a:lnTo>
                  <a:pt x="411" y="3691"/>
                </a:lnTo>
                <a:lnTo>
                  <a:pt x="672" y="3635"/>
                </a:lnTo>
                <a:lnTo>
                  <a:pt x="914" y="3542"/>
                </a:lnTo>
                <a:lnTo>
                  <a:pt x="1119" y="3430"/>
                </a:lnTo>
                <a:lnTo>
                  <a:pt x="1417" y="3542"/>
                </a:lnTo>
                <a:lnTo>
                  <a:pt x="1734" y="3635"/>
                </a:lnTo>
                <a:lnTo>
                  <a:pt x="2070" y="3691"/>
                </a:lnTo>
                <a:lnTo>
                  <a:pt x="2424" y="3710"/>
                </a:lnTo>
                <a:lnTo>
                  <a:pt x="2666" y="3710"/>
                </a:lnTo>
                <a:lnTo>
                  <a:pt x="2909" y="3673"/>
                </a:lnTo>
                <a:lnTo>
                  <a:pt x="3132" y="3635"/>
                </a:lnTo>
                <a:lnTo>
                  <a:pt x="3356" y="3580"/>
                </a:lnTo>
                <a:lnTo>
                  <a:pt x="3561" y="3486"/>
                </a:lnTo>
                <a:lnTo>
                  <a:pt x="3766" y="3393"/>
                </a:lnTo>
                <a:lnTo>
                  <a:pt x="3952" y="3300"/>
                </a:lnTo>
                <a:lnTo>
                  <a:pt x="4120" y="3169"/>
                </a:lnTo>
                <a:lnTo>
                  <a:pt x="4288" y="3039"/>
                </a:lnTo>
                <a:lnTo>
                  <a:pt x="4418" y="2890"/>
                </a:lnTo>
                <a:lnTo>
                  <a:pt x="4549" y="2741"/>
                </a:lnTo>
                <a:lnTo>
                  <a:pt x="4642" y="2592"/>
                </a:lnTo>
                <a:lnTo>
                  <a:pt x="4717" y="2405"/>
                </a:lnTo>
                <a:lnTo>
                  <a:pt x="4791" y="2237"/>
                </a:lnTo>
                <a:lnTo>
                  <a:pt x="4810" y="2051"/>
                </a:lnTo>
                <a:lnTo>
                  <a:pt x="4828" y="1865"/>
                </a:lnTo>
                <a:lnTo>
                  <a:pt x="4810" y="1678"/>
                </a:lnTo>
                <a:lnTo>
                  <a:pt x="4791" y="1492"/>
                </a:lnTo>
                <a:lnTo>
                  <a:pt x="4717" y="1305"/>
                </a:lnTo>
                <a:lnTo>
                  <a:pt x="4642" y="1138"/>
                </a:lnTo>
                <a:lnTo>
                  <a:pt x="4549" y="970"/>
                </a:lnTo>
                <a:lnTo>
                  <a:pt x="4418" y="821"/>
                </a:lnTo>
                <a:lnTo>
                  <a:pt x="4288" y="672"/>
                </a:lnTo>
                <a:lnTo>
                  <a:pt x="4120" y="541"/>
                </a:lnTo>
                <a:lnTo>
                  <a:pt x="3952" y="429"/>
                </a:lnTo>
                <a:lnTo>
                  <a:pt x="3766" y="318"/>
                </a:lnTo>
                <a:lnTo>
                  <a:pt x="3561" y="224"/>
                </a:lnTo>
                <a:lnTo>
                  <a:pt x="3356" y="150"/>
                </a:lnTo>
                <a:lnTo>
                  <a:pt x="3132" y="94"/>
                </a:lnTo>
                <a:lnTo>
                  <a:pt x="2909" y="38"/>
                </a:lnTo>
                <a:lnTo>
                  <a:pt x="2666" y="19"/>
                </a:lnTo>
                <a:lnTo>
                  <a:pt x="2424" y="1"/>
                </a:lnTo>
                <a:close/>
                <a:moveTo>
                  <a:pt x="5183" y="1622"/>
                </a:moveTo>
                <a:lnTo>
                  <a:pt x="5201" y="1865"/>
                </a:lnTo>
                <a:lnTo>
                  <a:pt x="5183" y="2088"/>
                </a:lnTo>
                <a:lnTo>
                  <a:pt x="5145" y="2312"/>
                </a:lnTo>
                <a:lnTo>
                  <a:pt x="5071" y="2517"/>
                </a:lnTo>
                <a:lnTo>
                  <a:pt x="4978" y="2722"/>
                </a:lnTo>
                <a:lnTo>
                  <a:pt x="4866" y="2927"/>
                </a:lnTo>
                <a:lnTo>
                  <a:pt x="4735" y="3114"/>
                </a:lnTo>
                <a:lnTo>
                  <a:pt x="4568" y="3281"/>
                </a:lnTo>
                <a:lnTo>
                  <a:pt x="4381" y="3430"/>
                </a:lnTo>
                <a:lnTo>
                  <a:pt x="4195" y="3580"/>
                </a:lnTo>
                <a:lnTo>
                  <a:pt x="3971" y="3710"/>
                </a:lnTo>
                <a:lnTo>
                  <a:pt x="3747" y="3822"/>
                </a:lnTo>
                <a:lnTo>
                  <a:pt x="3505" y="3915"/>
                </a:lnTo>
                <a:lnTo>
                  <a:pt x="3244" y="3990"/>
                </a:lnTo>
                <a:lnTo>
                  <a:pt x="2983" y="4046"/>
                </a:lnTo>
                <a:lnTo>
                  <a:pt x="2704" y="4083"/>
                </a:lnTo>
                <a:lnTo>
                  <a:pt x="2238" y="4083"/>
                </a:lnTo>
                <a:lnTo>
                  <a:pt x="2051" y="4064"/>
                </a:lnTo>
                <a:lnTo>
                  <a:pt x="2126" y="4195"/>
                </a:lnTo>
                <a:lnTo>
                  <a:pt x="2219" y="4306"/>
                </a:lnTo>
                <a:lnTo>
                  <a:pt x="2312" y="4418"/>
                </a:lnTo>
                <a:lnTo>
                  <a:pt x="2405" y="4530"/>
                </a:lnTo>
                <a:lnTo>
                  <a:pt x="2648" y="4717"/>
                </a:lnTo>
                <a:lnTo>
                  <a:pt x="2927" y="4884"/>
                </a:lnTo>
                <a:lnTo>
                  <a:pt x="3225" y="5015"/>
                </a:lnTo>
                <a:lnTo>
                  <a:pt x="3561" y="5127"/>
                </a:lnTo>
                <a:lnTo>
                  <a:pt x="3915" y="5183"/>
                </a:lnTo>
                <a:lnTo>
                  <a:pt x="4269" y="5201"/>
                </a:lnTo>
                <a:lnTo>
                  <a:pt x="4623" y="5183"/>
                </a:lnTo>
                <a:lnTo>
                  <a:pt x="4959" y="5127"/>
                </a:lnTo>
                <a:lnTo>
                  <a:pt x="5276" y="5033"/>
                </a:lnTo>
                <a:lnTo>
                  <a:pt x="5574" y="4903"/>
                </a:lnTo>
                <a:lnTo>
                  <a:pt x="5779" y="5015"/>
                </a:lnTo>
                <a:lnTo>
                  <a:pt x="6021" y="5108"/>
                </a:lnTo>
                <a:lnTo>
                  <a:pt x="6282" y="5183"/>
                </a:lnTo>
                <a:lnTo>
                  <a:pt x="6432" y="5201"/>
                </a:lnTo>
                <a:lnTo>
                  <a:pt x="6599" y="5201"/>
                </a:lnTo>
                <a:lnTo>
                  <a:pt x="6655" y="5183"/>
                </a:lnTo>
                <a:lnTo>
                  <a:pt x="6674" y="5145"/>
                </a:lnTo>
                <a:lnTo>
                  <a:pt x="6692" y="5089"/>
                </a:lnTo>
                <a:lnTo>
                  <a:pt x="6655" y="5052"/>
                </a:lnTo>
                <a:lnTo>
                  <a:pt x="6506" y="4866"/>
                </a:lnTo>
                <a:lnTo>
                  <a:pt x="6376" y="4661"/>
                </a:lnTo>
                <a:lnTo>
                  <a:pt x="6245" y="4418"/>
                </a:lnTo>
                <a:lnTo>
                  <a:pt x="6338" y="4288"/>
                </a:lnTo>
                <a:lnTo>
                  <a:pt x="6432" y="4176"/>
                </a:lnTo>
                <a:lnTo>
                  <a:pt x="6506" y="4046"/>
                </a:lnTo>
                <a:lnTo>
                  <a:pt x="6562" y="3915"/>
                </a:lnTo>
                <a:lnTo>
                  <a:pt x="6618" y="3785"/>
                </a:lnTo>
                <a:lnTo>
                  <a:pt x="6655" y="3635"/>
                </a:lnTo>
                <a:lnTo>
                  <a:pt x="6674" y="3486"/>
                </a:lnTo>
                <a:lnTo>
                  <a:pt x="6692" y="3337"/>
                </a:lnTo>
                <a:lnTo>
                  <a:pt x="6674" y="3207"/>
                </a:lnTo>
                <a:lnTo>
                  <a:pt x="6655" y="3058"/>
                </a:lnTo>
                <a:lnTo>
                  <a:pt x="6618" y="2927"/>
                </a:lnTo>
                <a:lnTo>
                  <a:pt x="6581" y="2797"/>
                </a:lnTo>
                <a:lnTo>
                  <a:pt x="6525" y="2666"/>
                </a:lnTo>
                <a:lnTo>
                  <a:pt x="6450" y="2536"/>
                </a:lnTo>
                <a:lnTo>
                  <a:pt x="6357" y="2405"/>
                </a:lnTo>
                <a:lnTo>
                  <a:pt x="6264" y="2293"/>
                </a:lnTo>
                <a:lnTo>
                  <a:pt x="6171" y="2200"/>
                </a:lnTo>
                <a:lnTo>
                  <a:pt x="6040" y="2088"/>
                </a:lnTo>
                <a:lnTo>
                  <a:pt x="5798" y="1902"/>
                </a:lnTo>
                <a:lnTo>
                  <a:pt x="5500" y="1753"/>
                </a:lnTo>
                <a:lnTo>
                  <a:pt x="5183" y="1622"/>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39;p8">
            <a:extLst>
              <a:ext uri="{FF2B5EF4-FFF2-40B4-BE49-F238E27FC236}">
                <a16:creationId xmlns:a16="http://schemas.microsoft.com/office/drawing/2014/main" id="{2D6CE58E-D270-F405-43C1-3E7C5CAABA7D}"/>
              </a:ext>
            </a:extLst>
          </p:cNvPr>
          <p:cNvSpPr/>
          <p:nvPr/>
        </p:nvSpPr>
        <p:spPr>
          <a:xfrm>
            <a:off x="8744552" y="3046766"/>
            <a:ext cx="528063" cy="467784"/>
          </a:xfrm>
          <a:custGeom>
            <a:avLst/>
            <a:gdLst/>
            <a:ahLst/>
            <a:cxnLst/>
            <a:rect l="l" t="t" r="r" b="b"/>
            <a:pathLst>
              <a:path w="6693" h="5929" extrusionOk="0">
                <a:moveTo>
                  <a:pt x="224" y="1"/>
                </a:moveTo>
                <a:lnTo>
                  <a:pt x="168" y="20"/>
                </a:lnTo>
                <a:lnTo>
                  <a:pt x="94" y="75"/>
                </a:lnTo>
                <a:lnTo>
                  <a:pt x="19" y="169"/>
                </a:lnTo>
                <a:lnTo>
                  <a:pt x="19" y="225"/>
                </a:lnTo>
                <a:lnTo>
                  <a:pt x="1" y="281"/>
                </a:lnTo>
                <a:lnTo>
                  <a:pt x="1" y="467"/>
                </a:lnTo>
                <a:lnTo>
                  <a:pt x="19" y="523"/>
                </a:lnTo>
                <a:lnTo>
                  <a:pt x="19" y="560"/>
                </a:lnTo>
                <a:lnTo>
                  <a:pt x="94" y="653"/>
                </a:lnTo>
                <a:lnTo>
                  <a:pt x="168" y="709"/>
                </a:lnTo>
                <a:lnTo>
                  <a:pt x="224" y="728"/>
                </a:lnTo>
                <a:lnTo>
                  <a:pt x="280" y="747"/>
                </a:lnTo>
                <a:lnTo>
                  <a:pt x="1100" y="747"/>
                </a:lnTo>
                <a:lnTo>
                  <a:pt x="1902" y="4717"/>
                </a:lnTo>
                <a:lnTo>
                  <a:pt x="1827" y="4773"/>
                </a:lnTo>
                <a:lnTo>
                  <a:pt x="1771" y="4829"/>
                </a:lnTo>
                <a:lnTo>
                  <a:pt x="1715" y="4903"/>
                </a:lnTo>
                <a:lnTo>
                  <a:pt x="1659" y="4978"/>
                </a:lnTo>
                <a:lnTo>
                  <a:pt x="1622" y="5052"/>
                </a:lnTo>
                <a:lnTo>
                  <a:pt x="1604" y="5127"/>
                </a:lnTo>
                <a:lnTo>
                  <a:pt x="1585" y="5220"/>
                </a:lnTo>
                <a:lnTo>
                  <a:pt x="1585" y="5313"/>
                </a:lnTo>
                <a:lnTo>
                  <a:pt x="1604" y="5444"/>
                </a:lnTo>
                <a:lnTo>
                  <a:pt x="1641" y="5556"/>
                </a:lnTo>
                <a:lnTo>
                  <a:pt x="1697" y="5649"/>
                </a:lnTo>
                <a:lnTo>
                  <a:pt x="1771" y="5742"/>
                </a:lnTo>
                <a:lnTo>
                  <a:pt x="1864" y="5817"/>
                </a:lnTo>
                <a:lnTo>
                  <a:pt x="1976" y="5872"/>
                </a:lnTo>
                <a:lnTo>
                  <a:pt x="2088" y="5910"/>
                </a:lnTo>
                <a:lnTo>
                  <a:pt x="2200" y="5928"/>
                </a:lnTo>
                <a:lnTo>
                  <a:pt x="2330" y="5928"/>
                </a:lnTo>
                <a:lnTo>
                  <a:pt x="2461" y="5891"/>
                </a:lnTo>
                <a:lnTo>
                  <a:pt x="2573" y="5835"/>
                </a:lnTo>
                <a:lnTo>
                  <a:pt x="2685" y="5761"/>
                </a:lnTo>
                <a:lnTo>
                  <a:pt x="2759" y="5649"/>
                </a:lnTo>
                <a:lnTo>
                  <a:pt x="2834" y="5537"/>
                </a:lnTo>
                <a:lnTo>
                  <a:pt x="2871" y="5425"/>
                </a:lnTo>
                <a:lnTo>
                  <a:pt x="2890" y="5295"/>
                </a:lnTo>
                <a:lnTo>
                  <a:pt x="2871" y="5146"/>
                </a:lnTo>
                <a:lnTo>
                  <a:pt x="2834" y="5034"/>
                </a:lnTo>
                <a:lnTo>
                  <a:pt x="2759" y="4922"/>
                </a:lnTo>
                <a:lnTo>
                  <a:pt x="2685" y="4829"/>
                </a:lnTo>
                <a:lnTo>
                  <a:pt x="5126" y="4829"/>
                </a:lnTo>
                <a:lnTo>
                  <a:pt x="5033" y="4922"/>
                </a:lnTo>
                <a:lnTo>
                  <a:pt x="4977" y="5034"/>
                </a:lnTo>
                <a:lnTo>
                  <a:pt x="4940" y="5164"/>
                </a:lnTo>
                <a:lnTo>
                  <a:pt x="4921" y="5295"/>
                </a:lnTo>
                <a:lnTo>
                  <a:pt x="4940" y="5425"/>
                </a:lnTo>
                <a:lnTo>
                  <a:pt x="4977" y="5556"/>
                </a:lnTo>
                <a:lnTo>
                  <a:pt x="5033" y="5649"/>
                </a:lnTo>
                <a:lnTo>
                  <a:pt x="5126" y="5742"/>
                </a:lnTo>
                <a:lnTo>
                  <a:pt x="5220" y="5817"/>
                </a:lnTo>
                <a:lnTo>
                  <a:pt x="5313" y="5891"/>
                </a:lnTo>
                <a:lnTo>
                  <a:pt x="5443" y="5928"/>
                </a:lnTo>
                <a:lnTo>
                  <a:pt x="5704" y="5928"/>
                </a:lnTo>
                <a:lnTo>
                  <a:pt x="5816" y="5891"/>
                </a:lnTo>
                <a:lnTo>
                  <a:pt x="5928" y="5835"/>
                </a:lnTo>
                <a:lnTo>
                  <a:pt x="6021" y="5742"/>
                </a:lnTo>
                <a:lnTo>
                  <a:pt x="6114" y="5649"/>
                </a:lnTo>
                <a:lnTo>
                  <a:pt x="6170" y="5537"/>
                </a:lnTo>
                <a:lnTo>
                  <a:pt x="6208" y="5425"/>
                </a:lnTo>
                <a:lnTo>
                  <a:pt x="6226" y="5295"/>
                </a:lnTo>
                <a:lnTo>
                  <a:pt x="6208" y="5183"/>
                </a:lnTo>
                <a:lnTo>
                  <a:pt x="6189" y="5108"/>
                </a:lnTo>
                <a:lnTo>
                  <a:pt x="6170" y="5015"/>
                </a:lnTo>
                <a:lnTo>
                  <a:pt x="6114" y="4940"/>
                </a:lnTo>
                <a:lnTo>
                  <a:pt x="6077" y="4866"/>
                </a:lnTo>
                <a:lnTo>
                  <a:pt x="6003" y="4810"/>
                </a:lnTo>
                <a:lnTo>
                  <a:pt x="5928" y="4754"/>
                </a:lnTo>
                <a:lnTo>
                  <a:pt x="5853" y="4698"/>
                </a:lnTo>
                <a:lnTo>
                  <a:pt x="5928" y="4419"/>
                </a:lnTo>
                <a:lnTo>
                  <a:pt x="5928" y="4363"/>
                </a:lnTo>
                <a:lnTo>
                  <a:pt x="5928" y="4288"/>
                </a:lnTo>
                <a:lnTo>
                  <a:pt x="5891" y="4232"/>
                </a:lnTo>
                <a:lnTo>
                  <a:pt x="5872" y="4176"/>
                </a:lnTo>
                <a:lnTo>
                  <a:pt x="5816" y="4139"/>
                </a:lnTo>
                <a:lnTo>
                  <a:pt x="5779" y="4102"/>
                </a:lnTo>
                <a:lnTo>
                  <a:pt x="5723" y="4083"/>
                </a:lnTo>
                <a:lnTo>
                  <a:pt x="2536" y="4083"/>
                </a:lnTo>
                <a:lnTo>
                  <a:pt x="2461" y="3710"/>
                </a:lnTo>
                <a:lnTo>
                  <a:pt x="5853" y="3710"/>
                </a:lnTo>
                <a:lnTo>
                  <a:pt x="5947" y="3692"/>
                </a:lnTo>
                <a:lnTo>
                  <a:pt x="6040" y="3654"/>
                </a:lnTo>
                <a:lnTo>
                  <a:pt x="6096" y="3580"/>
                </a:lnTo>
                <a:lnTo>
                  <a:pt x="6133" y="3487"/>
                </a:lnTo>
                <a:lnTo>
                  <a:pt x="6674" y="1082"/>
                </a:lnTo>
                <a:lnTo>
                  <a:pt x="6692" y="1007"/>
                </a:lnTo>
                <a:lnTo>
                  <a:pt x="6674" y="952"/>
                </a:lnTo>
                <a:lnTo>
                  <a:pt x="6655" y="896"/>
                </a:lnTo>
                <a:lnTo>
                  <a:pt x="6618" y="840"/>
                </a:lnTo>
                <a:lnTo>
                  <a:pt x="6580" y="802"/>
                </a:lnTo>
                <a:lnTo>
                  <a:pt x="6524" y="765"/>
                </a:lnTo>
                <a:lnTo>
                  <a:pt x="6469" y="747"/>
                </a:lnTo>
                <a:lnTo>
                  <a:pt x="1846" y="747"/>
                </a:lnTo>
                <a:lnTo>
                  <a:pt x="1753" y="225"/>
                </a:lnTo>
                <a:lnTo>
                  <a:pt x="1715" y="131"/>
                </a:lnTo>
                <a:lnTo>
                  <a:pt x="1641" y="57"/>
                </a:lnTo>
                <a:lnTo>
                  <a:pt x="1566" y="20"/>
                </a:lnTo>
                <a:lnTo>
                  <a:pt x="1473"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018966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Angenommenes Schließen</a:t>
            </a:r>
          </a:p>
          <a:p>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9057516" y="1613325"/>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9515544" y="2135161"/>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81696F3-F128-0E88-E0D9-ADA8D3E8D92A}"/>
              </a:ext>
            </a:extLst>
          </p:cNvPr>
          <p:cNvSpPr txBox="1"/>
          <p:nvPr/>
        </p:nvSpPr>
        <p:spPr>
          <a:xfrm>
            <a:off x="9057516" y="1808008"/>
            <a:ext cx="846218" cy="769441"/>
          </a:xfrm>
          <a:prstGeom prst="rect">
            <a:avLst/>
          </a:prstGeom>
          <a:noFill/>
        </p:spPr>
        <p:txBody>
          <a:bodyPr wrap="square">
            <a:spAutoFit/>
          </a:bodyPr>
          <a:lstStyle/>
          <a:p>
            <a:pPr algn="ctr"/>
            <a:endParaRPr lang="en-US" sz="4400" dirty="0">
              <a:solidFill>
                <a:schemeClr val="bg1"/>
              </a:solidFill>
            </a:endParaRPr>
          </a:p>
        </p:txBody>
      </p: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935838" y="1581957"/>
            <a:ext cx="7909418"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dirty="0"/>
              <a:t>Sie gehen davon aus, dass der Kunde kaufen wird, es sei denn, Sie werden eines Besseren belehrt.</a:t>
            </a:r>
          </a:p>
          <a:p>
            <a:pPr>
              <a:spcBef>
                <a:spcPts val="0"/>
              </a:spcBef>
            </a:pPr>
            <a:endParaRPr lang="en-US" dirty="0"/>
          </a:p>
          <a:p>
            <a:pPr marL="342900" indent="-342900">
              <a:spcBef>
                <a:spcPts val="0"/>
              </a:spcBef>
              <a:buClr>
                <a:srgbClr val="DE0A1D"/>
              </a:buClr>
              <a:buFont typeface="Arial" panose="020B0604020202020204" pitchFamily="34" charset="0"/>
              <a:buChar char="•"/>
            </a:pPr>
            <a:r>
              <a:rPr lang="en-US" i="1" dirty="0"/>
              <a:t>"Wir können nächsten Freitagabend liefern, wenn Ihnen das lieber ist."</a:t>
            </a:r>
          </a:p>
          <a:p>
            <a:pPr marL="342900" indent="-342900">
              <a:spcBef>
                <a:spcPts val="0"/>
              </a:spcBef>
              <a:buClr>
                <a:srgbClr val="DE0A1D"/>
              </a:buClr>
              <a:buFont typeface="Arial" panose="020B0604020202020204" pitchFamily="34" charset="0"/>
              <a:buChar char="•"/>
            </a:pPr>
            <a:r>
              <a:rPr lang="en-US" i="1" dirty="0"/>
              <a:t>"Würden 2 Kisten ausreichen oder brauchen Sie mehr?"</a:t>
            </a:r>
          </a:p>
          <a:p>
            <a:pPr marL="342900" indent="-342900">
              <a:spcBef>
                <a:spcPts val="0"/>
              </a:spcBef>
              <a:buClr>
                <a:srgbClr val="DE0A1D"/>
              </a:buClr>
              <a:buFont typeface="Arial" panose="020B0604020202020204" pitchFamily="34" charset="0"/>
              <a:buChar char="•"/>
            </a:pPr>
            <a:r>
              <a:rPr lang="en-US" i="1" dirty="0"/>
              <a:t>"Ich trage Sie für eine Lieferung ein und wir können den genauen Betrag vor der Lieferung bestätigen.</a:t>
            </a:r>
          </a:p>
          <a:p>
            <a:pPr>
              <a:spcBef>
                <a:spcPts val="0"/>
              </a:spcBef>
              <a:buClr>
                <a:srgbClr val="DE0A1D"/>
              </a:buClr>
            </a:pPr>
            <a:endParaRPr lang="en-US" sz="1800" dirty="0"/>
          </a:p>
          <a:p>
            <a:pPr>
              <a:spcBef>
                <a:spcPts val="0"/>
              </a:spcBef>
            </a:pPr>
            <a:r>
              <a:rPr lang="en-US" b="1" dirty="0">
                <a:solidFill>
                  <a:srgbClr val="DE0A1D"/>
                </a:solidFill>
              </a:rPr>
              <a:t>Grundlegende Philosophie: </a:t>
            </a:r>
            <a:r>
              <a:rPr lang="en-US" dirty="0">
                <a:solidFill>
                  <a:srgbClr val="DE0A1D"/>
                </a:solidFill>
              </a:rPr>
              <a:t>Basierend auf der Annahme, dass es für die andere Partei schwer ist, etwas zu leugnen, wenn man ihr Vertrauen in die Wahrheit zeigt</a:t>
            </a:r>
          </a:p>
          <a:p>
            <a:pPr marR="0" lvl="0" algn="l" defTabSz="914400" rtl="0" eaLnBrk="1" fontAlgn="auto" latinLnBrk="0" hangingPunct="1">
              <a:lnSpc>
                <a:spcPct val="90000"/>
              </a:lnSpc>
              <a:spcBef>
                <a:spcPts val="1000"/>
              </a:spcBef>
              <a:spcAft>
                <a:spcPts val="0"/>
              </a:spcAft>
              <a:buClrTx/>
              <a:buSzTx/>
              <a:tabLst/>
              <a:defRPr/>
            </a:pPr>
            <a:endParaRPr kumimoji="0" lang="en-US" sz="24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
        <p:nvSpPr>
          <p:cNvPr id="7" name="Google Shape;232;p8">
            <a:extLst>
              <a:ext uri="{FF2B5EF4-FFF2-40B4-BE49-F238E27FC236}">
                <a16:creationId xmlns:a16="http://schemas.microsoft.com/office/drawing/2014/main" id="{65DF3276-7500-4E20-43D9-CED50FC220F7}"/>
              </a:ext>
            </a:extLst>
          </p:cNvPr>
          <p:cNvSpPr/>
          <p:nvPr/>
        </p:nvSpPr>
        <p:spPr>
          <a:xfrm>
            <a:off x="9178060" y="1855433"/>
            <a:ext cx="674968" cy="431840"/>
          </a:xfrm>
          <a:custGeom>
            <a:avLst/>
            <a:gdLst/>
            <a:ahLst/>
            <a:cxnLst/>
            <a:rect l="l" t="t" r="r" b="b"/>
            <a:pathLst>
              <a:path w="6674" h="4270" extrusionOk="0">
                <a:moveTo>
                  <a:pt x="3058" y="578"/>
                </a:moveTo>
                <a:lnTo>
                  <a:pt x="3132" y="672"/>
                </a:lnTo>
                <a:lnTo>
                  <a:pt x="3207" y="765"/>
                </a:lnTo>
                <a:lnTo>
                  <a:pt x="3244" y="895"/>
                </a:lnTo>
                <a:lnTo>
                  <a:pt x="3244" y="1026"/>
                </a:lnTo>
                <a:lnTo>
                  <a:pt x="3225" y="1156"/>
                </a:lnTo>
                <a:lnTo>
                  <a:pt x="3188" y="1268"/>
                </a:lnTo>
                <a:lnTo>
                  <a:pt x="3132" y="1380"/>
                </a:lnTo>
                <a:lnTo>
                  <a:pt x="3058" y="1473"/>
                </a:lnTo>
                <a:lnTo>
                  <a:pt x="2965" y="1566"/>
                </a:lnTo>
                <a:lnTo>
                  <a:pt x="2853" y="1622"/>
                </a:lnTo>
                <a:lnTo>
                  <a:pt x="2722" y="1659"/>
                </a:lnTo>
                <a:lnTo>
                  <a:pt x="2592" y="1678"/>
                </a:lnTo>
                <a:lnTo>
                  <a:pt x="2461" y="1659"/>
                </a:lnTo>
                <a:lnTo>
                  <a:pt x="2349" y="1622"/>
                </a:lnTo>
                <a:lnTo>
                  <a:pt x="2238" y="1566"/>
                </a:lnTo>
                <a:lnTo>
                  <a:pt x="2144" y="1473"/>
                </a:lnTo>
                <a:lnTo>
                  <a:pt x="2051" y="1380"/>
                </a:lnTo>
                <a:lnTo>
                  <a:pt x="1995" y="1268"/>
                </a:lnTo>
                <a:lnTo>
                  <a:pt x="1958" y="1156"/>
                </a:lnTo>
                <a:lnTo>
                  <a:pt x="1958" y="1026"/>
                </a:lnTo>
                <a:lnTo>
                  <a:pt x="1865" y="1193"/>
                </a:lnTo>
                <a:lnTo>
                  <a:pt x="1809" y="1380"/>
                </a:lnTo>
                <a:lnTo>
                  <a:pt x="1772" y="1566"/>
                </a:lnTo>
                <a:lnTo>
                  <a:pt x="1772" y="1771"/>
                </a:lnTo>
                <a:lnTo>
                  <a:pt x="1772" y="1920"/>
                </a:lnTo>
                <a:lnTo>
                  <a:pt x="1790" y="2088"/>
                </a:lnTo>
                <a:lnTo>
                  <a:pt x="1827" y="2237"/>
                </a:lnTo>
                <a:lnTo>
                  <a:pt x="1883" y="2386"/>
                </a:lnTo>
                <a:lnTo>
                  <a:pt x="1958" y="2517"/>
                </a:lnTo>
                <a:lnTo>
                  <a:pt x="2033" y="2647"/>
                </a:lnTo>
                <a:lnTo>
                  <a:pt x="2126" y="2759"/>
                </a:lnTo>
                <a:lnTo>
                  <a:pt x="2219" y="2871"/>
                </a:lnTo>
                <a:lnTo>
                  <a:pt x="2331" y="2983"/>
                </a:lnTo>
                <a:lnTo>
                  <a:pt x="2461" y="3076"/>
                </a:lnTo>
                <a:lnTo>
                  <a:pt x="2592" y="3151"/>
                </a:lnTo>
                <a:lnTo>
                  <a:pt x="2722" y="3225"/>
                </a:lnTo>
                <a:lnTo>
                  <a:pt x="2871" y="3263"/>
                </a:lnTo>
                <a:lnTo>
                  <a:pt x="3020" y="3318"/>
                </a:lnTo>
                <a:lnTo>
                  <a:pt x="3188" y="3337"/>
                </a:lnTo>
                <a:lnTo>
                  <a:pt x="3505" y="3337"/>
                </a:lnTo>
                <a:lnTo>
                  <a:pt x="3654" y="3318"/>
                </a:lnTo>
                <a:lnTo>
                  <a:pt x="3803" y="3263"/>
                </a:lnTo>
                <a:lnTo>
                  <a:pt x="3952" y="3225"/>
                </a:lnTo>
                <a:lnTo>
                  <a:pt x="4102" y="3151"/>
                </a:lnTo>
                <a:lnTo>
                  <a:pt x="4232" y="3076"/>
                </a:lnTo>
                <a:lnTo>
                  <a:pt x="4344" y="2983"/>
                </a:lnTo>
                <a:lnTo>
                  <a:pt x="4456" y="2871"/>
                </a:lnTo>
                <a:lnTo>
                  <a:pt x="4568" y="2759"/>
                </a:lnTo>
                <a:lnTo>
                  <a:pt x="4642" y="2647"/>
                </a:lnTo>
                <a:lnTo>
                  <a:pt x="4735" y="2517"/>
                </a:lnTo>
                <a:lnTo>
                  <a:pt x="4791" y="2386"/>
                </a:lnTo>
                <a:lnTo>
                  <a:pt x="4847" y="2237"/>
                </a:lnTo>
                <a:lnTo>
                  <a:pt x="4884" y="2088"/>
                </a:lnTo>
                <a:lnTo>
                  <a:pt x="4903" y="1920"/>
                </a:lnTo>
                <a:lnTo>
                  <a:pt x="4922" y="1771"/>
                </a:lnTo>
                <a:lnTo>
                  <a:pt x="4922" y="1622"/>
                </a:lnTo>
                <a:lnTo>
                  <a:pt x="4903" y="1492"/>
                </a:lnTo>
                <a:lnTo>
                  <a:pt x="4829" y="1249"/>
                </a:lnTo>
                <a:lnTo>
                  <a:pt x="4735" y="1026"/>
                </a:lnTo>
                <a:lnTo>
                  <a:pt x="4586" y="802"/>
                </a:lnTo>
                <a:lnTo>
                  <a:pt x="4829" y="914"/>
                </a:lnTo>
                <a:lnTo>
                  <a:pt x="5052" y="1044"/>
                </a:lnTo>
                <a:lnTo>
                  <a:pt x="5276" y="1193"/>
                </a:lnTo>
                <a:lnTo>
                  <a:pt x="5462" y="1343"/>
                </a:lnTo>
                <a:lnTo>
                  <a:pt x="5667" y="1529"/>
                </a:lnTo>
                <a:lnTo>
                  <a:pt x="5835" y="1715"/>
                </a:lnTo>
                <a:lnTo>
                  <a:pt x="5984" y="1920"/>
                </a:lnTo>
                <a:lnTo>
                  <a:pt x="6133" y="2144"/>
                </a:lnTo>
                <a:lnTo>
                  <a:pt x="6021" y="2312"/>
                </a:lnTo>
                <a:lnTo>
                  <a:pt x="5891" y="2480"/>
                </a:lnTo>
                <a:lnTo>
                  <a:pt x="5761" y="2629"/>
                </a:lnTo>
                <a:lnTo>
                  <a:pt x="5630" y="2778"/>
                </a:lnTo>
                <a:lnTo>
                  <a:pt x="5481" y="2927"/>
                </a:lnTo>
                <a:lnTo>
                  <a:pt x="5313" y="3057"/>
                </a:lnTo>
                <a:lnTo>
                  <a:pt x="5145" y="3169"/>
                </a:lnTo>
                <a:lnTo>
                  <a:pt x="4978" y="3281"/>
                </a:lnTo>
                <a:lnTo>
                  <a:pt x="4791" y="3374"/>
                </a:lnTo>
                <a:lnTo>
                  <a:pt x="4605" y="3468"/>
                </a:lnTo>
                <a:lnTo>
                  <a:pt x="4400" y="3542"/>
                </a:lnTo>
                <a:lnTo>
                  <a:pt x="4195" y="3598"/>
                </a:lnTo>
                <a:lnTo>
                  <a:pt x="3990" y="3654"/>
                </a:lnTo>
                <a:lnTo>
                  <a:pt x="3785" y="3691"/>
                </a:lnTo>
                <a:lnTo>
                  <a:pt x="3561" y="3710"/>
                </a:lnTo>
                <a:lnTo>
                  <a:pt x="3114" y="3710"/>
                </a:lnTo>
                <a:lnTo>
                  <a:pt x="2909" y="3691"/>
                </a:lnTo>
                <a:lnTo>
                  <a:pt x="2685" y="3654"/>
                </a:lnTo>
                <a:lnTo>
                  <a:pt x="2480" y="3598"/>
                </a:lnTo>
                <a:lnTo>
                  <a:pt x="2275" y="3542"/>
                </a:lnTo>
                <a:lnTo>
                  <a:pt x="2088" y="3468"/>
                </a:lnTo>
                <a:lnTo>
                  <a:pt x="1902" y="3374"/>
                </a:lnTo>
                <a:lnTo>
                  <a:pt x="1716" y="3281"/>
                </a:lnTo>
                <a:lnTo>
                  <a:pt x="1529" y="3169"/>
                </a:lnTo>
                <a:lnTo>
                  <a:pt x="1361" y="3057"/>
                </a:lnTo>
                <a:lnTo>
                  <a:pt x="1212" y="2927"/>
                </a:lnTo>
                <a:lnTo>
                  <a:pt x="1063" y="2778"/>
                </a:lnTo>
                <a:lnTo>
                  <a:pt x="914" y="2629"/>
                </a:lnTo>
                <a:lnTo>
                  <a:pt x="784" y="2480"/>
                </a:lnTo>
                <a:lnTo>
                  <a:pt x="672" y="2312"/>
                </a:lnTo>
                <a:lnTo>
                  <a:pt x="560" y="2144"/>
                </a:lnTo>
                <a:lnTo>
                  <a:pt x="653" y="1976"/>
                </a:lnTo>
                <a:lnTo>
                  <a:pt x="765" y="1827"/>
                </a:lnTo>
                <a:lnTo>
                  <a:pt x="1007" y="1529"/>
                </a:lnTo>
                <a:lnTo>
                  <a:pt x="1287" y="1287"/>
                </a:lnTo>
                <a:lnTo>
                  <a:pt x="1436" y="1175"/>
                </a:lnTo>
                <a:lnTo>
                  <a:pt x="1604" y="1063"/>
                </a:lnTo>
                <a:lnTo>
                  <a:pt x="1772" y="970"/>
                </a:lnTo>
                <a:lnTo>
                  <a:pt x="1939" y="877"/>
                </a:lnTo>
                <a:lnTo>
                  <a:pt x="2107" y="802"/>
                </a:lnTo>
                <a:lnTo>
                  <a:pt x="2293" y="727"/>
                </a:lnTo>
                <a:lnTo>
                  <a:pt x="2480" y="672"/>
                </a:lnTo>
                <a:lnTo>
                  <a:pt x="2666" y="634"/>
                </a:lnTo>
                <a:lnTo>
                  <a:pt x="2871" y="597"/>
                </a:lnTo>
                <a:lnTo>
                  <a:pt x="3058" y="578"/>
                </a:lnTo>
                <a:close/>
                <a:moveTo>
                  <a:pt x="3337" y="1"/>
                </a:moveTo>
                <a:lnTo>
                  <a:pt x="3076" y="19"/>
                </a:lnTo>
                <a:lnTo>
                  <a:pt x="2834" y="38"/>
                </a:lnTo>
                <a:lnTo>
                  <a:pt x="2573" y="75"/>
                </a:lnTo>
                <a:lnTo>
                  <a:pt x="2331" y="131"/>
                </a:lnTo>
                <a:lnTo>
                  <a:pt x="2107" y="206"/>
                </a:lnTo>
                <a:lnTo>
                  <a:pt x="1865" y="299"/>
                </a:lnTo>
                <a:lnTo>
                  <a:pt x="1641" y="392"/>
                </a:lnTo>
                <a:lnTo>
                  <a:pt x="1436" y="504"/>
                </a:lnTo>
                <a:lnTo>
                  <a:pt x="1231" y="634"/>
                </a:lnTo>
                <a:lnTo>
                  <a:pt x="1026" y="783"/>
                </a:lnTo>
                <a:lnTo>
                  <a:pt x="840" y="933"/>
                </a:lnTo>
                <a:lnTo>
                  <a:pt x="672" y="1100"/>
                </a:lnTo>
                <a:lnTo>
                  <a:pt x="504" y="1268"/>
                </a:lnTo>
                <a:lnTo>
                  <a:pt x="355" y="1454"/>
                </a:lnTo>
                <a:lnTo>
                  <a:pt x="206" y="1641"/>
                </a:lnTo>
                <a:lnTo>
                  <a:pt x="75" y="1846"/>
                </a:lnTo>
                <a:lnTo>
                  <a:pt x="19" y="1995"/>
                </a:lnTo>
                <a:lnTo>
                  <a:pt x="1" y="2144"/>
                </a:lnTo>
                <a:lnTo>
                  <a:pt x="19" y="2275"/>
                </a:lnTo>
                <a:lnTo>
                  <a:pt x="75" y="2424"/>
                </a:lnTo>
                <a:lnTo>
                  <a:pt x="206" y="2629"/>
                </a:lnTo>
                <a:lnTo>
                  <a:pt x="355" y="2815"/>
                </a:lnTo>
                <a:lnTo>
                  <a:pt x="504" y="3002"/>
                </a:lnTo>
                <a:lnTo>
                  <a:pt x="672" y="3169"/>
                </a:lnTo>
                <a:lnTo>
                  <a:pt x="840" y="3337"/>
                </a:lnTo>
                <a:lnTo>
                  <a:pt x="1026" y="3486"/>
                </a:lnTo>
                <a:lnTo>
                  <a:pt x="1231" y="3635"/>
                </a:lnTo>
                <a:lnTo>
                  <a:pt x="1436" y="3766"/>
                </a:lnTo>
                <a:lnTo>
                  <a:pt x="1641" y="3878"/>
                </a:lnTo>
                <a:lnTo>
                  <a:pt x="1865" y="3971"/>
                </a:lnTo>
                <a:lnTo>
                  <a:pt x="2107" y="4064"/>
                </a:lnTo>
                <a:lnTo>
                  <a:pt x="2331" y="4139"/>
                </a:lnTo>
                <a:lnTo>
                  <a:pt x="2573" y="4195"/>
                </a:lnTo>
                <a:lnTo>
                  <a:pt x="2834" y="4232"/>
                </a:lnTo>
                <a:lnTo>
                  <a:pt x="3076" y="4269"/>
                </a:lnTo>
                <a:lnTo>
                  <a:pt x="3598" y="4269"/>
                </a:lnTo>
                <a:lnTo>
                  <a:pt x="3859" y="4232"/>
                </a:lnTo>
                <a:lnTo>
                  <a:pt x="4102" y="4195"/>
                </a:lnTo>
                <a:lnTo>
                  <a:pt x="4344" y="4139"/>
                </a:lnTo>
                <a:lnTo>
                  <a:pt x="4586" y="4064"/>
                </a:lnTo>
                <a:lnTo>
                  <a:pt x="4810" y="3971"/>
                </a:lnTo>
                <a:lnTo>
                  <a:pt x="5034" y="3878"/>
                </a:lnTo>
                <a:lnTo>
                  <a:pt x="5257" y="3766"/>
                </a:lnTo>
                <a:lnTo>
                  <a:pt x="5462" y="3635"/>
                </a:lnTo>
                <a:lnTo>
                  <a:pt x="5649" y="3486"/>
                </a:lnTo>
                <a:lnTo>
                  <a:pt x="5835" y="3337"/>
                </a:lnTo>
                <a:lnTo>
                  <a:pt x="6021" y="3169"/>
                </a:lnTo>
                <a:lnTo>
                  <a:pt x="6189" y="3002"/>
                </a:lnTo>
                <a:lnTo>
                  <a:pt x="6338" y="2815"/>
                </a:lnTo>
                <a:lnTo>
                  <a:pt x="6469" y="2629"/>
                </a:lnTo>
                <a:lnTo>
                  <a:pt x="6599" y="2424"/>
                </a:lnTo>
                <a:lnTo>
                  <a:pt x="6655" y="2275"/>
                </a:lnTo>
                <a:lnTo>
                  <a:pt x="6674" y="2144"/>
                </a:lnTo>
                <a:lnTo>
                  <a:pt x="6655" y="1995"/>
                </a:lnTo>
                <a:lnTo>
                  <a:pt x="6599" y="1846"/>
                </a:lnTo>
                <a:lnTo>
                  <a:pt x="6469" y="1641"/>
                </a:lnTo>
                <a:lnTo>
                  <a:pt x="6338" y="1454"/>
                </a:lnTo>
                <a:lnTo>
                  <a:pt x="6171" y="1268"/>
                </a:lnTo>
                <a:lnTo>
                  <a:pt x="6021" y="1100"/>
                </a:lnTo>
                <a:lnTo>
                  <a:pt x="5835" y="933"/>
                </a:lnTo>
                <a:lnTo>
                  <a:pt x="5649" y="783"/>
                </a:lnTo>
                <a:lnTo>
                  <a:pt x="5462" y="634"/>
                </a:lnTo>
                <a:lnTo>
                  <a:pt x="5257" y="504"/>
                </a:lnTo>
                <a:lnTo>
                  <a:pt x="5034" y="392"/>
                </a:lnTo>
                <a:lnTo>
                  <a:pt x="4810" y="299"/>
                </a:lnTo>
                <a:lnTo>
                  <a:pt x="4586" y="206"/>
                </a:lnTo>
                <a:lnTo>
                  <a:pt x="4344" y="131"/>
                </a:lnTo>
                <a:lnTo>
                  <a:pt x="4102" y="75"/>
                </a:lnTo>
                <a:lnTo>
                  <a:pt x="3859" y="38"/>
                </a:lnTo>
                <a:lnTo>
                  <a:pt x="3598" y="19"/>
                </a:lnTo>
                <a:lnTo>
                  <a:pt x="3337"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613101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Bedingtes Schließen</a:t>
            </a:r>
          </a:p>
          <a:p>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9180254" y="1637141"/>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9638282" y="2175288"/>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7" name="Google Shape;213;p8">
            <a:extLst>
              <a:ext uri="{FF2B5EF4-FFF2-40B4-BE49-F238E27FC236}">
                <a16:creationId xmlns:a16="http://schemas.microsoft.com/office/drawing/2014/main" id="{B2F1CC79-83D0-6235-CADF-FA539F8CA6A3}"/>
              </a:ext>
            </a:extLst>
          </p:cNvPr>
          <p:cNvSpPr/>
          <p:nvPr/>
        </p:nvSpPr>
        <p:spPr>
          <a:xfrm>
            <a:off x="9354833" y="1874863"/>
            <a:ext cx="566898" cy="440611"/>
          </a:xfrm>
          <a:custGeom>
            <a:avLst/>
            <a:gdLst/>
            <a:ahLst/>
            <a:cxnLst/>
            <a:rect l="l" t="t" r="r" b="b"/>
            <a:pathLst>
              <a:path w="6693" h="5202" extrusionOk="0">
                <a:moveTo>
                  <a:pt x="2424" y="1"/>
                </a:moveTo>
                <a:lnTo>
                  <a:pt x="2163" y="19"/>
                </a:lnTo>
                <a:lnTo>
                  <a:pt x="1939" y="38"/>
                </a:lnTo>
                <a:lnTo>
                  <a:pt x="1697" y="94"/>
                </a:lnTo>
                <a:lnTo>
                  <a:pt x="1473" y="150"/>
                </a:lnTo>
                <a:lnTo>
                  <a:pt x="1268" y="224"/>
                </a:lnTo>
                <a:lnTo>
                  <a:pt x="1063" y="318"/>
                </a:lnTo>
                <a:lnTo>
                  <a:pt x="877" y="429"/>
                </a:lnTo>
                <a:lnTo>
                  <a:pt x="709" y="541"/>
                </a:lnTo>
                <a:lnTo>
                  <a:pt x="560" y="672"/>
                </a:lnTo>
                <a:lnTo>
                  <a:pt x="411" y="821"/>
                </a:lnTo>
                <a:lnTo>
                  <a:pt x="299" y="970"/>
                </a:lnTo>
                <a:lnTo>
                  <a:pt x="187" y="1138"/>
                </a:lnTo>
                <a:lnTo>
                  <a:pt x="113" y="1305"/>
                </a:lnTo>
                <a:lnTo>
                  <a:pt x="57" y="1492"/>
                </a:lnTo>
                <a:lnTo>
                  <a:pt x="19" y="1678"/>
                </a:lnTo>
                <a:lnTo>
                  <a:pt x="1" y="1865"/>
                </a:lnTo>
                <a:lnTo>
                  <a:pt x="19" y="2014"/>
                </a:lnTo>
                <a:lnTo>
                  <a:pt x="38" y="2144"/>
                </a:lnTo>
                <a:lnTo>
                  <a:pt x="75" y="2293"/>
                </a:lnTo>
                <a:lnTo>
                  <a:pt x="131" y="2424"/>
                </a:lnTo>
                <a:lnTo>
                  <a:pt x="187" y="2554"/>
                </a:lnTo>
                <a:lnTo>
                  <a:pt x="262" y="2685"/>
                </a:lnTo>
                <a:lnTo>
                  <a:pt x="355" y="2815"/>
                </a:lnTo>
                <a:lnTo>
                  <a:pt x="448" y="2927"/>
                </a:lnTo>
                <a:lnTo>
                  <a:pt x="318" y="3169"/>
                </a:lnTo>
                <a:lnTo>
                  <a:pt x="187" y="3375"/>
                </a:lnTo>
                <a:lnTo>
                  <a:pt x="38" y="3561"/>
                </a:lnTo>
                <a:lnTo>
                  <a:pt x="1" y="3617"/>
                </a:lnTo>
                <a:lnTo>
                  <a:pt x="19" y="3654"/>
                </a:lnTo>
                <a:lnTo>
                  <a:pt x="57" y="3710"/>
                </a:lnTo>
                <a:lnTo>
                  <a:pt x="262" y="3710"/>
                </a:lnTo>
                <a:lnTo>
                  <a:pt x="411" y="3691"/>
                </a:lnTo>
                <a:lnTo>
                  <a:pt x="672" y="3635"/>
                </a:lnTo>
                <a:lnTo>
                  <a:pt x="914" y="3542"/>
                </a:lnTo>
                <a:lnTo>
                  <a:pt x="1119" y="3430"/>
                </a:lnTo>
                <a:lnTo>
                  <a:pt x="1417" y="3542"/>
                </a:lnTo>
                <a:lnTo>
                  <a:pt x="1734" y="3635"/>
                </a:lnTo>
                <a:lnTo>
                  <a:pt x="2070" y="3691"/>
                </a:lnTo>
                <a:lnTo>
                  <a:pt x="2424" y="3710"/>
                </a:lnTo>
                <a:lnTo>
                  <a:pt x="2666" y="3710"/>
                </a:lnTo>
                <a:lnTo>
                  <a:pt x="2909" y="3673"/>
                </a:lnTo>
                <a:lnTo>
                  <a:pt x="3132" y="3635"/>
                </a:lnTo>
                <a:lnTo>
                  <a:pt x="3356" y="3580"/>
                </a:lnTo>
                <a:lnTo>
                  <a:pt x="3561" y="3486"/>
                </a:lnTo>
                <a:lnTo>
                  <a:pt x="3766" y="3393"/>
                </a:lnTo>
                <a:lnTo>
                  <a:pt x="3952" y="3300"/>
                </a:lnTo>
                <a:lnTo>
                  <a:pt x="4120" y="3169"/>
                </a:lnTo>
                <a:lnTo>
                  <a:pt x="4288" y="3039"/>
                </a:lnTo>
                <a:lnTo>
                  <a:pt x="4418" y="2890"/>
                </a:lnTo>
                <a:lnTo>
                  <a:pt x="4549" y="2741"/>
                </a:lnTo>
                <a:lnTo>
                  <a:pt x="4642" y="2592"/>
                </a:lnTo>
                <a:lnTo>
                  <a:pt x="4717" y="2405"/>
                </a:lnTo>
                <a:lnTo>
                  <a:pt x="4791" y="2237"/>
                </a:lnTo>
                <a:lnTo>
                  <a:pt x="4810" y="2051"/>
                </a:lnTo>
                <a:lnTo>
                  <a:pt x="4828" y="1865"/>
                </a:lnTo>
                <a:lnTo>
                  <a:pt x="4810" y="1678"/>
                </a:lnTo>
                <a:lnTo>
                  <a:pt x="4791" y="1492"/>
                </a:lnTo>
                <a:lnTo>
                  <a:pt x="4717" y="1305"/>
                </a:lnTo>
                <a:lnTo>
                  <a:pt x="4642" y="1138"/>
                </a:lnTo>
                <a:lnTo>
                  <a:pt x="4549" y="970"/>
                </a:lnTo>
                <a:lnTo>
                  <a:pt x="4418" y="821"/>
                </a:lnTo>
                <a:lnTo>
                  <a:pt x="4288" y="672"/>
                </a:lnTo>
                <a:lnTo>
                  <a:pt x="4120" y="541"/>
                </a:lnTo>
                <a:lnTo>
                  <a:pt x="3952" y="429"/>
                </a:lnTo>
                <a:lnTo>
                  <a:pt x="3766" y="318"/>
                </a:lnTo>
                <a:lnTo>
                  <a:pt x="3561" y="224"/>
                </a:lnTo>
                <a:lnTo>
                  <a:pt x="3356" y="150"/>
                </a:lnTo>
                <a:lnTo>
                  <a:pt x="3132" y="94"/>
                </a:lnTo>
                <a:lnTo>
                  <a:pt x="2909" y="38"/>
                </a:lnTo>
                <a:lnTo>
                  <a:pt x="2666" y="19"/>
                </a:lnTo>
                <a:lnTo>
                  <a:pt x="2424" y="1"/>
                </a:lnTo>
                <a:close/>
                <a:moveTo>
                  <a:pt x="5183" y="1622"/>
                </a:moveTo>
                <a:lnTo>
                  <a:pt x="5201" y="1865"/>
                </a:lnTo>
                <a:lnTo>
                  <a:pt x="5183" y="2088"/>
                </a:lnTo>
                <a:lnTo>
                  <a:pt x="5145" y="2312"/>
                </a:lnTo>
                <a:lnTo>
                  <a:pt x="5071" y="2517"/>
                </a:lnTo>
                <a:lnTo>
                  <a:pt x="4978" y="2722"/>
                </a:lnTo>
                <a:lnTo>
                  <a:pt x="4866" y="2927"/>
                </a:lnTo>
                <a:lnTo>
                  <a:pt x="4735" y="3114"/>
                </a:lnTo>
                <a:lnTo>
                  <a:pt x="4568" y="3281"/>
                </a:lnTo>
                <a:lnTo>
                  <a:pt x="4381" y="3430"/>
                </a:lnTo>
                <a:lnTo>
                  <a:pt x="4195" y="3580"/>
                </a:lnTo>
                <a:lnTo>
                  <a:pt x="3971" y="3710"/>
                </a:lnTo>
                <a:lnTo>
                  <a:pt x="3747" y="3822"/>
                </a:lnTo>
                <a:lnTo>
                  <a:pt x="3505" y="3915"/>
                </a:lnTo>
                <a:lnTo>
                  <a:pt x="3244" y="3990"/>
                </a:lnTo>
                <a:lnTo>
                  <a:pt x="2983" y="4046"/>
                </a:lnTo>
                <a:lnTo>
                  <a:pt x="2704" y="4083"/>
                </a:lnTo>
                <a:lnTo>
                  <a:pt x="2238" y="4083"/>
                </a:lnTo>
                <a:lnTo>
                  <a:pt x="2051" y="4064"/>
                </a:lnTo>
                <a:lnTo>
                  <a:pt x="2126" y="4195"/>
                </a:lnTo>
                <a:lnTo>
                  <a:pt x="2219" y="4306"/>
                </a:lnTo>
                <a:lnTo>
                  <a:pt x="2312" y="4418"/>
                </a:lnTo>
                <a:lnTo>
                  <a:pt x="2405" y="4530"/>
                </a:lnTo>
                <a:lnTo>
                  <a:pt x="2648" y="4717"/>
                </a:lnTo>
                <a:lnTo>
                  <a:pt x="2927" y="4884"/>
                </a:lnTo>
                <a:lnTo>
                  <a:pt x="3225" y="5015"/>
                </a:lnTo>
                <a:lnTo>
                  <a:pt x="3561" y="5127"/>
                </a:lnTo>
                <a:lnTo>
                  <a:pt x="3915" y="5183"/>
                </a:lnTo>
                <a:lnTo>
                  <a:pt x="4269" y="5201"/>
                </a:lnTo>
                <a:lnTo>
                  <a:pt x="4623" y="5183"/>
                </a:lnTo>
                <a:lnTo>
                  <a:pt x="4959" y="5127"/>
                </a:lnTo>
                <a:lnTo>
                  <a:pt x="5276" y="5033"/>
                </a:lnTo>
                <a:lnTo>
                  <a:pt x="5574" y="4903"/>
                </a:lnTo>
                <a:lnTo>
                  <a:pt x="5779" y="5015"/>
                </a:lnTo>
                <a:lnTo>
                  <a:pt x="6021" y="5108"/>
                </a:lnTo>
                <a:lnTo>
                  <a:pt x="6282" y="5183"/>
                </a:lnTo>
                <a:lnTo>
                  <a:pt x="6432" y="5201"/>
                </a:lnTo>
                <a:lnTo>
                  <a:pt x="6599" y="5201"/>
                </a:lnTo>
                <a:lnTo>
                  <a:pt x="6655" y="5183"/>
                </a:lnTo>
                <a:lnTo>
                  <a:pt x="6674" y="5145"/>
                </a:lnTo>
                <a:lnTo>
                  <a:pt x="6692" y="5089"/>
                </a:lnTo>
                <a:lnTo>
                  <a:pt x="6655" y="5052"/>
                </a:lnTo>
                <a:lnTo>
                  <a:pt x="6506" y="4866"/>
                </a:lnTo>
                <a:lnTo>
                  <a:pt x="6376" y="4661"/>
                </a:lnTo>
                <a:lnTo>
                  <a:pt x="6245" y="4418"/>
                </a:lnTo>
                <a:lnTo>
                  <a:pt x="6338" y="4288"/>
                </a:lnTo>
                <a:lnTo>
                  <a:pt x="6432" y="4176"/>
                </a:lnTo>
                <a:lnTo>
                  <a:pt x="6506" y="4046"/>
                </a:lnTo>
                <a:lnTo>
                  <a:pt x="6562" y="3915"/>
                </a:lnTo>
                <a:lnTo>
                  <a:pt x="6618" y="3785"/>
                </a:lnTo>
                <a:lnTo>
                  <a:pt x="6655" y="3635"/>
                </a:lnTo>
                <a:lnTo>
                  <a:pt x="6674" y="3486"/>
                </a:lnTo>
                <a:lnTo>
                  <a:pt x="6692" y="3337"/>
                </a:lnTo>
                <a:lnTo>
                  <a:pt x="6674" y="3207"/>
                </a:lnTo>
                <a:lnTo>
                  <a:pt x="6655" y="3058"/>
                </a:lnTo>
                <a:lnTo>
                  <a:pt x="6618" y="2927"/>
                </a:lnTo>
                <a:lnTo>
                  <a:pt x="6581" y="2797"/>
                </a:lnTo>
                <a:lnTo>
                  <a:pt x="6525" y="2666"/>
                </a:lnTo>
                <a:lnTo>
                  <a:pt x="6450" y="2536"/>
                </a:lnTo>
                <a:lnTo>
                  <a:pt x="6357" y="2405"/>
                </a:lnTo>
                <a:lnTo>
                  <a:pt x="6264" y="2293"/>
                </a:lnTo>
                <a:lnTo>
                  <a:pt x="6171" y="2200"/>
                </a:lnTo>
                <a:lnTo>
                  <a:pt x="6040" y="2088"/>
                </a:lnTo>
                <a:lnTo>
                  <a:pt x="5798" y="1902"/>
                </a:lnTo>
                <a:lnTo>
                  <a:pt x="5500" y="1753"/>
                </a:lnTo>
                <a:lnTo>
                  <a:pt x="5183" y="1622"/>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TextBox 9">
            <a:extLst>
              <a:ext uri="{FF2B5EF4-FFF2-40B4-BE49-F238E27FC236}">
                <a16:creationId xmlns:a16="http://schemas.microsoft.com/office/drawing/2014/main" id="{81F53D56-2CB2-10BF-7A75-2BF5C760D65C}"/>
              </a:ext>
            </a:extLst>
          </p:cNvPr>
          <p:cNvSpPr txBox="1"/>
          <p:nvPr/>
        </p:nvSpPr>
        <p:spPr>
          <a:xfrm>
            <a:off x="830560" y="1637141"/>
            <a:ext cx="8245504" cy="4081117"/>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 typeface="Arial"/>
              <a:buNone/>
              <a:tabLst/>
              <a:defRPr/>
            </a:pPr>
            <a:r>
              <a:rPr kumimoji="0" lang="en-US" sz="2400" b="0" i="0" u="none" strike="noStrike" kern="1200" cap="none" spc="0" normalizeH="0" baseline="0" noProof="0" dirty="0">
                <a:ln>
                  <a:noFill/>
                </a:ln>
                <a:solidFill>
                  <a:srgbClr val="003841"/>
                </a:solidFill>
                <a:effectLst/>
                <a:uLnTx/>
                <a:uFillTx/>
                <a:latin typeface="Calibri" panose="020F0502020204030204"/>
                <a:ea typeface="+mn-ea"/>
                <a:cs typeface="+mn-cs"/>
              </a:rPr>
              <a:t>Wirft es dem Kunden direkt zurück, indem er eine verlockende "Bedingung" stellt, jetzt bei Ihnen zu kaufen!</a:t>
            </a:r>
          </a:p>
          <a:p>
            <a:pPr marL="0" marR="0" lvl="0" indent="0" algn="l" defTabSz="914400" rtl="0" eaLnBrk="1" fontAlgn="auto" latinLnBrk="0" hangingPunct="1">
              <a:lnSpc>
                <a:spcPct val="90000"/>
              </a:lnSpc>
              <a:spcBef>
                <a:spcPts val="0"/>
              </a:spcBef>
              <a:spcAft>
                <a:spcPts val="0"/>
              </a:spcAft>
              <a:buClrTx/>
              <a:buSzTx/>
              <a:buFont typeface="Arial"/>
              <a:buNone/>
              <a:tabLst/>
              <a:defRPr/>
            </a:pPr>
            <a:endParaRPr kumimoji="0" lang="en-US" sz="2400" b="0" i="0" u="none" strike="noStrike" kern="1200" cap="none" spc="0" normalizeH="0" baseline="0" noProof="0" dirty="0">
              <a:ln>
                <a:noFill/>
              </a:ln>
              <a:solidFill>
                <a:srgbClr val="003841"/>
              </a:solidFill>
              <a:effectLst/>
              <a:uLnTx/>
              <a:uFillTx/>
              <a:latin typeface="Calibri" panose="020F0502020204030204"/>
              <a:ea typeface="+mn-ea"/>
              <a:cs typeface="+mn-cs"/>
            </a:endParaRPr>
          </a:p>
          <a:p>
            <a:pPr marL="285750" marR="0" lvl="0" indent="-285750" algn="l" defTabSz="914400" rtl="0" eaLnBrk="1" fontAlgn="auto" latinLnBrk="0" hangingPunct="1">
              <a:lnSpc>
                <a:spcPct val="90000"/>
              </a:lnSpc>
              <a:spcBef>
                <a:spcPts val="0"/>
              </a:spcBef>
              <a:spcAft>
                <a:spcPts val="0"/>
              </a:spcAft>
              <a:buClr>
                <a:srgbClr val="DE0A1D"/>
              </a:buClr>
              <a:buSzTx/>
              <a:buFont typeface="Arial" panose="020B0604020202020204" pitchFamily="34" charset="0"/>
              <a:buChar char="•"/>
              <a:tabLst/>
              <a:defRPr/>
            </a:pPr>
            <a:r>
              <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rPr>
              <a:t>"Wenn ich </a:t>
            </a:r>
            <a:r>
              <a:rPr lang="en-US" sz="2400" i="1" dirty="0">
                <a:solidFill>
                  <a:srgbClr val="003841"/>
                </a:solidFill>
                <a:latin typeface="Calibri" panose="020F0502020204030204"/>
              </a:rPr>
              <a:t>einen Zahlungsplan </a:t>
            </a:r>
            <a:r>
              <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rPr>
              <a:t>für Sie einrichte, werden Sie dann in Betracht ziehen, mit uns Geschäfte zu machen?</a:t>
            </a:r>
          </a:p>
          <a:p>
            <a:pPr marL="285750" marR="0" lvl="0" indent="-285750" algn="l" defTabSz="914400" rtl="0" eaLnBrk="1" fontAlgn="auto" latinLnBrk="0" hangingPunct="1">
              <a:lnSpc>
                <a:spcPct val="90000"/>
              </a:lnSpc>
              <a:spcBef>
                <a:spcPts val="0"/>
              </a:spcBef>
              <a:spcAft>
                <a:spcPts val="0"/>
              </a:spcAft>
              <a:buClr>
                <a:srgbClr val="DE0A1D"/>
              </a:buClr>
              <a:buSzTx/>
              <a:buFont typeface="Arial" panose="020B0604020202020204" pitchFamily="34" charset="0"/>
              <a:buChar char="•"/>
              <a:tabLst/>
              <a:defRPr/>
            </a:pPr>
            <a:r>
              <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rPr>
              <a:t>"Wäre es Ihnen lieber, wenn wir unseren Termin auf den Abend legen könnten, wenn Sie nicht so beschäftigt sind?"</a:t>
            </a:r>
          </a:p>
          <a:p>
            <a:pPr marL="285750" marR="0" lvl="0" indent="-285750" algn="l" defTabSz="914400" rtl="0" eaLnBrk="1" fontAlgn="auto" latinLnBrk="0" hangingPunct="1">
              <a:lnSpc>
                <a:spcPct val="90000"/>
              </a:lnSpc>
              <a:spcBef>
                <a:spcPts val="0"/>
              </a:spcBef>
              <a:spcAft>
                <a:spcPts val="0"/>
              </a:spcAft>
              <a:buClr>
                <a:srgbClr val="DE0A1D"/>
              </a:buClr>
              <a:buSzTx/>
              <a:buFont typeface="Arial" panose="020B0604020202020204" pitchFamily="34" charset="0"/>
              <a:buChar char="•"/>
              <a:tabLst/>
              <a:defRPr/>
            </a:pPr>
            <a:r>
              <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rPr>
              <a:t>"Wenn wir eine Lieferung vor </a:t>
            </a:r>
            <a:r>
              <a:rPr lang="en-US" sz="2400" i="1" dirty="0">
                <a:solidFill>
                  <a:srgbClr val="003841"/>
                </a:solidFill>
                <a:latin typeface="Calibri" panose="020F0502020204030204"/>
              </a:rPr>
              <a:t>&lt;Datum&gt; </a:t>
            </a:r>
            <a:r>
              <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rPr>
              <a:t>garantieren können</a:t>
            </a:r>
            <a:r>
              <a:rPr lang="en-US" sz="2400" i="1" dirty="0">
                <a:solidFill>
                  <a:srgbClr val="003841"/>
                </a:solidFill>
                <a:latin typeface="Calibri" panose="020F0502020204030204"/>
              </a:rPr>
              <a:t>, </a:t>
            </a:r>
            <a:r>
              <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rPr>
              <a:t>werden Sie die Bestellung heute aufgeben?"</a:t>
            </a:r>
          </a:p>
          <a:p>
            <a:pPr marL="342900" marR="0" lvl="0" indent="-342900" algn="l" defTabSz="914400" rtl="0" eaLnBrk="1" fontAlgn="auto" latinLnBrk="0" hangingPunct="1">
              <a:lnSpc>
                <a:spcPct val="90000"/>
              </a:lnSpc>
              <a:spcBef>
                <a:spcPts val="0"/>
              </a:spcBef>
              <a:spcAft>
                <a:spcPts val="0"/>
              </a:spcAft>
              <a:buClr>
                <a:srgbClr val="EC2179"/>
              </a:buClr>
              <a:buSzTx/>
              <a:buFont typeface="Arial" charset="0"/>
              <a:buChar char="•"/>
              <a:tabLst/>
              <a:defRPr/>
            </a:pPr>
            <a:endParaRPr kumimoji="0" lang="en-US" sz="2400" b="0" i="1" u="none" strike="noStrike" kern="1200" cap="none" spc="0" normalizeH="0" baseline="0" noProof="0" dirty="0">
              <a:ln>
                <a:noFill/>
              </a:ln>
              <a:solidFill>
                <a:srgbClr val="003841"/>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a:buNone/>
              <a:tabLst/>
              <a:defRPr/>
            </a:pPr>
            <a:r>
              <a:rPr kumimoji="0" lang="en-US" sz="2400" b="1" i="0" u="none" strike="noStrike" kern="1200" cap="none" spc="0" normalizeH="0" baseline="0" noProof="0" dirty="0">
                <a:ln>
                  <a:noFill/>
                </a:ln>
                <a:solidFill>
                  <a:srgbClr val="DE0A1D"/>
                </a:solidFill>
                <a:effectLst/>
                <a:uLnTx/>
                <a:uFillTx/>
                <a:latin typeface="Calibri" panose="020F0502020204030204"/>
                <a:ea typeface="+mn-ea"/>
                <a:cs typeface="+mn-cs"/>
              </a:rPr>
              <a:t>Grundlegende Philosophie: </a:t>
            </a:r>
            <a:r>
              <a:rPr kumimoji="0" lang="en-US" sz="2400" b="0" i="0" u="none" strike="noStrike" kern="1200" cap="none" spc="0" normalizeH="0" baseline="0" noProof="0" dirty="0">
                <a:ln>
                  <a:noFill/>
                </a:ln>
                <a:solidFill>
                  <a:srgbClr val="DE0A1D"/>
                </a:solidFill>
                <a:effectLst/>
                <a:uLnTx/>
                <a:uFillTx/>
                <a:latin typeface="Calibri" panose="020F0502020204030204"/>
                <a:ea typeface="+mn-ea"/>
                <a:cs typeface="+mn-cs"/>
              </a:rPr>
              <a:t>Basierend auf dem Tauschprinzip. </a:t>
            </a:r>
          </a:p>
          <a:p>
            <a:pPr marL="0" marR="0" lvl="0" indent="0" algn="l" defTabSz="914400" rtl="0" eaLnBrk="1" fontAlgn="auto" latinLnBrk="0" hangingPunct="1">
              <a:lnSpc>
                <a:spcPct val="90000"/>
              </a:lnSpc>
              <a:spcBef>
                <a:spcPts val="0"/>
              </a:spcBef>
              <a:spcAft>
                <a:spcPts val="0"/>
              </a:spcAft>
              <a:buClrTx/>
              <a:buSzTx/>
              <a:buFont typeface="Arial"/>
              <a:buNone/>
              <a:tabLst/>
              <a:defRPr/>
            </a:pPr>
            <a:r>
              <a:rPr kumimoji="0" lang="en-US" sz="2400" b="0" i="0" u="none" strike="noStrike" kern="1200" cap="none" spc="0" normalizeH="0" baseline="0" noProof="0" dirty="0">
                <a:ln>
                  <a:noFill/>
                </a:ln>
                <a:solidFill>
                  <a:srgbClr val="DE0A1D"/>
                </a:solidFill>
                <a:effectLst/>
                <a:uLnTx/>
                <a:uFillTx/>
                <a:latin typeface="Calibri" panose="020F0502020204030204"/>
                <a:ea typeface="+mn-ea"/>
                <a:cs typeface="+mn-cs"/>
              </a:rPr>
              <a:t>Wenn ich Ihr Problem löse, werden Sie bei mir kaufen.</a:t>
            </a:r>
          </a:p>
        </p:txBody>
      </p:sp>
    </p:spTree>
    <p:extLst>
      <p:ext uri="{BB962C8B-B14F-4D97-AF65-F5344CB8AC3E}">
        <p14:creationId xmlns:p14="http://schemas.microsoft.com/office/powerpoint/2010/main" val="19570640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Bonus Schließen</a:t>
            </a:r>
          </a:p>
          <a:p>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7082FD8-7554-3632-4EEA-B848EAD335CA}"/>
              </a:ext>
            </a:extLst>
          </p:cNvPr>
          <p:cNvSpPr txBox="1">
            <a:spLocks/>
          </p:cNvSpPr>
          <p:nvPr/>
        </p:nvSpPr>
        <p:spPr>
          <a:xfrm>
            <a:off x="751058" y="1717260"/>
            <a:ext cx="7282377" cy="10436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2400" kern="1200" baseline="0">
                <a:solidFill>
                  <a:srgbClr val="003841"/>
                </a:solidFill>
                <a:latin typeface="+mn-lt"/>
                <a:ea typeface="+mn-ea"/>
                <a:cs typeface="+mn-cs"/>
              </a:defRPr>
            </a:lvl1pPr>
            <a:lvl2pPr marL="4572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dirty="0"/>
              <a:t>Wird verwendet, wenn Sie fast am Ziel sind!  Hier geht es darum, dem Kunden etwas Besonderes zu bieten.</a:t>
            </a:r>
          </a:p>
          <a:p>
            <a:pPr>
              <a:spcBef>
                <a:spcPts val="0"/>
              </a:spcBef>
            </a:pPr>
            <a:endParaRPr lang="en-US" dirty="0"/>
          </a:p>
          <a:p>
            <a:pPr marL="342900" indent="-342900">
              <a:spcBef>
                <a:spcPts val="0"/>
              </a:spcBef>
              <a:buClr>
                <a:srgbClr val="DE0A1D"/>
              </a:buClr>
              <a:buFont typeface="Arial" charset="0"/>
              <a:buChar char="•"/>
            </a:pPr>
            <a:r>
              <a:rPr lang="en-US" i="1" dirty="0"/>
              <a:t>Weil Sie einer unserer treuen Kunden sind, gebe ich Ihnen einen zusätzlichen Rabatt von 10 %/ein kostenloses Geschenk, wenn Sie heute buchen</a:t>
            </a:r>
          </a:p>
          <a:p>
            <a:pPr>
              <a:spcBef>
                <a:spcPts val="0"/>
              </a:spcBef>
            </a:pPr>
            <a:endParaRPr lang="en-US" dirty="0"/>
          </a:p>
          <a:p>
            <a:pPr>
              <a:spcBef>
                <a:spcPts val="0"/>
              </a:spcBef>
            </a:pPr>
            <a:r>
              <a:rPr lang="en-US" b="1" dirty="0">
                <a:solidFill>
                  <a:srgbClr val="DE0A1D"/>
                </a:solidFill>
              </a:rPr>
              <a:t>Grundlegende Philosophie: </a:t>
            </a:r>
            <a:r>
              <a:rPr lang="en-US" dirty="0">
                <a:solidFill>
                  <a:srgbClr val="DE0A1D"/>
                </a:solidFill>
              </a:rPr>
              <a:t>Basierend auf dem Prinzip der </a:t>
            </a:r>
            <a:r>
              <a:rPr lang="en-US" b="1" dirty="0">
                <a:solidFill>
                  <a:srgbClr val="DE0A1D"/>
                </a:solidFill>
              </a:rPr>
              <a:t>Freude </a:t>
            </a:r>
            <a:r>
              <a:rPr lang="en-US" dirty="0">
                <a:solidFill>
                  <a:srgbClr val="DE0A1D"/>
                </a:solidFill>
              </a:rPr>
              <a:t>und der Tatsache, dass man die Erwartungen des Kunden nicht nur erfüllen, sondern übertreffen kan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
        <p:nvSpPr>
          <p:cNvPr id="7" name="Google Shape;126;p7">
            <a:extLst>
              <a:ext uri="{FF2B5EF4-FFF2-40B4-BE49-F238E27FC236}">
                <a16:creationId xmlns:a16="http://schemas.microsoft.com/office/drawing/2014/main" id="{1FC548A2-0047-A4DD-D63D-72C2D7C75CF1}"/>
              </a:ext>
            </a:extLst>
          </p:cNvPr>
          <p:cNvSpPr/>
          <p:nvPr/>
        </p:nvSpPr>
        <p:spPr>
          <a:xfrm>
            <a:off x="8646054" y="1799263"/>
            <a:ext cx="602193" cy="604020"/>
          </a:xfrm>
          <a:custGeom>
            <a:avLst/>
            <a:gdLst/>
            <a:ahLst/>
            <a:cxnLst/>
            <a:rect l="l" t="t" r="r" b="b"/>
            <a:pathLst>
              <a:path w="5929" h="5947" extrusionOk="0">
                <a:moveTo>
                  <a:pt x="784" y="4940"/>
                </a:moveTo>
                <a:lnTo>
                  <a:pt x="839" y="4958"/>
                </a:lnTo>
                <a:lnTo>
                  <a:pt x="933" y="5014"/>
                </a:lnTo>
                <a:lnTo>
                  <a:pt x="989" y="5107"/>
                </a:lnTo>
                <a:lnTo>
                  <a:pt x="1007" y="5145"/>
                </a:lnTo>
                <a:lnTo>
                  <a:pt x="1007" y="5201"/>
                </a:lnTo>
                <a:lnTo>
                  <a:pt x="1007" y="5257"/>
                </a:lnTo>
                <a:lnTo>
                  <a:pt x="989" y="5313"/>
                </a:lnTo>
                <a:lnTo>
                  <a:pt x="933" y="5406"/>
                </a:lnTo>
                <a:lnTo>
                  <a:pt x="839" y="5462"/>
                </a:lnTo>
                <a:lnTo>
                  <a:pt x="784" y="5480"/>
                </a:lnTo>
                <a:lnTo>
                  <a:pt x="672" y="5480"/>
                </a:lnTo>
                <a:lnTo>
                  <a:pt x="634" y="5462"/>
                </a:lnTo>
                <a:lnTo>
                  <a:pt x="541" y="5406"/>
                </a:lnTo>
                <a:lnTo>
                  <a:pt x="485" y="5313"/>
                </a:lnTo>
                <a:lnTo>
                  <a:pt x="467" y="5257"/>
                </a:lnTo>
                <a:lnTo>
                  <a:pt x="448" y="5201"/>
                </a:lnTo>
                <a:lnTo>
                  <a:pt x="467" y="5145"/>
                </a:lnTo>
                <a:lnTo>
                  <a:pt x="485" y="5107"/>
                </a:lnTo>
                <a:lnTo>
                  <a:pt x="541" y="5014"/>
                </a:lnTo>
                <a:lnTo>
                  <a:pt x="634" y="4958"/>
                </a:lnTo>
                <a:lnTo>
                  <a:pt x="672" y="4940"/>
                </a:lnTo>
                <a:close/>
                <a:moveTo>
                  <a:pt x="206" y="2610"/>
                </a:moveTo>
                <a:lnTo>
                  <a:pt x="168" y="2628"/>
                </a:lnTo>
                <a:lnTo>
                  <a:pt x="75" y="2684"/>
                </a:lnTo>
                <a:lnTo>
                  <a:pt x="19" y="2777"/>
                </a:lnTo>
                <a:lnTo>
                  <a:pt x="1" y="2833"/>
                </a:lnTo>
                <a:lnTo>
                  <a:pt x="1" y="2889"/>
                </a:lnTo>
                <a:lnTo>
                  <a:pt x="1" y="5667"/>
                </a:lnTo>
                <a:lnTo>
                  <a:pt x="1" y="5723"/>
                </a:lnTo>
                <a:lnTo>
                  <a:pt x="19" y="5779"/>
                </a:lnTo>
                <a:lnTo>
                  <a:pt x="75" y="5872"/>
                </a:lnTo>
                <a:lnTo>
                  <a:pt x="168" y="5928"/>
                </a:lnTo>
                <a:lnTo>
                  <a:pt x="206" y="5946"/>
                </a:lnTo>
                <a:lnTo>
                  <a:pt x="1250" y="5946"/>
                </a:lnTo>
                <a:lnTo>
                  <a:pt x="1305" y="5928"/>
                </a:lnTo>
                <a:lnTo>
                  <a:pt x="1399" y="5872"/>
                </a:lnTo>
                <a:lnTo>
                  <a:pt x="1455" y="5779"/>
                </a:lnTo>
                <a:lnTo>
                  <a:pt x="1473" y="5723"/>
                </a:lnTo>
                <a:lnTo>
                  <a:pt x="1473" y="5667"/>
                </a:lnTo>
                <a:lnTo>
                  <a:pt x="1473" y="2889"/>
                </a:lnTo>
                <a:lnTo>
                  <a:pt x="1473" y="2833"/>
                </a:lnTo>
                <a:lnTo>
                  <a:pt x="1455" y="2777"/>
                </a:lnTo>
                <a:lnTo>
                  <a:pt x="1399" y="2684"/>
                </a:lnTo>
                <a:lnTo>
                  <a:pt x="1305" y="2628"/>
                </a:lnTo>
                <a:lnTo>
                  <a:pt x="1250" y="2610"/>
                </a:lnTo>
                <a:close/>
                <a:moveTo>
                  <a:pt x="3617" y="0"/>
                </a:moveTo>
                <a:lnTo>
                  <a:pt x="3524" y="19"/>
                </a:lnTo>
                <a:lnTo>
                  <a:pt x="3468" y="75"/>
                </a:lnTo>
                <a:lnTo>
                  <a:pt x="3393" y="168"/>
                </a:lnTo>
                <a:lnTo>
                  <a:pt x="3337" y="261"/>
                </a:lnTo>
                <a:lnTo>
                  <a:pt x="3263" y="485"/>
                </a:lnTo>
                <a:lnTo>
                  <a:pt x="3225" y="671"/>
                </a:lnTo>
                <a:lnTo>
                  <a:pt x="3169" y="858"/>
                </a:lnTo>
                <a:lnTo>
                  <a:pt x="3114" y="1044"/>
                </a:lnTo>
                <a:lnTo>
                  <a:pt x="3039" y="1212"/>
                </a:lnTo>
                <a:lnTo>
                  <a:pt x="2983" y="1286"/>
                </a:lnTo>
                <a:lnTo>
                  <a:pt x="2927" y="1361"/>
                </a:lnTo>
                <a:lnTo>
                  <a:pt x="2797" y="1510"/>
                </a:lnTo>
                <a:lnTo>
                  <a:pt x="2666" y="1659"/>
                </a:lnTo>
                <a:lnTo>
                  <a:pt x="2442" y="1995"/>
                </a:lnTo>
                <a:lnTo>
                  <a:pt x="2200" y="2330"/>
                </a:lnTo>
                <a:lnTo>
                  <a:pt x="2051" y="2498"/>
                </a:lnTo>
                <a:lnTo>
                  <a:pt x="1883" y="2666"/>
                </a:lnTo>
                <a:lnTo>
                  <a:pt x="1865" y="2722"/>
                </a:lnTo>
                <a:lnTo>
                  <a:pt x="1846" y="2777"/>
                </a:lnTo>
                <a:lnTo>
                  <a:pt x="1846" y="5257"/>
                </a:lnTo>
                <a:lnTo>
                  <a:pt x="1865" y="5313"/>
                </a:lnTo>
                <a:lnTo>
                  <a:pt x="1883" y="5350"/>
                </a:lnTo>
                <a:lnTo>
                  <a:pt x="1939" y="5387"/>
                </a:lnTo>
                <a:lnTo>
                  <a:pt x="1995" y="5387"/>
                </a:lnTo>
                <a:lnTo>
                  <a:pt x="2126" y="5406"/>
                </a:lnTo>
                <a:lnTo>
                  <a:pt x="2293" y="5462"/>
                </a:lnTo>
                <a:lnTo>
                  <a:pt x="2592" y="5573"/>
                </a:lnTo>
                <a:lnTo>
                  <a:pt x="2890" y="5704"/>
                </a:lnTo>
                <a:lnTo>
                  <a:pt x="3225" y="5816"/>
                </a:lnTo>
                <a:lnTo>
                  <a:pt x="3393" y="5872"/>
                </a:lnTo>
                <a:lnTo>
                  <a:pt x="3580" y="5909"/>
                </a:lnTo>
                <a:lnTo>
                  <a:pt x="3785" y="5946"/>
                </a:lnTo>
                <a:lnTo>
                  <a:pt x="4400" y="5946"/>
                </a:lnTo>
                <a:lnTo>
                  <a:pt x="4586" y="5928"/>
                </a:lnTo>
                <a:lnTo>
                  <a:pt x="4772" y="5909"/>
                </a:lnTo>
                <a:lnTo>
                  <a:pt x="4940" y="5853"/>
                </a:lnTo>
                <a:lnTo>
                  <a:pt x="5108" y="5797"/>
                </a:lnTo>
                <a:lnTo>
                  <a:pt x="5238" y="5723"/>
                </a:lnTo>
                <a:lnTo>
                  <a:pt x="5332" y="5611"/>
                </a:lnTo>
                <a:lnTo>
                  <a:pt x="5388" y="5499"/>
                </a:lnTo>
                <a:lnTo>
                  <a:pt x="5425" y="5368"/>
                </a:lnTo>
                <a:lnTo>
                  <a:pt x="5425" y="5238"/>
                </a:lnTo>
                <a:lnTo>
                  <a:pt x="5406" y="5089"/>
                </a:lnTo>
                <a:lnTo>
                  <a:pt x="5481" y="4996"/>
                </a:lnTo>
                <a:lnTo>
                  <a:pt x="5537" y="4902"/>
                </a:lnTo>
                <a:lnTo>
                  <a:pt x="5574" y="4809"/>
                </a:lnTo>
                <a:lnTo>
                  <a:pt x="5611" y="4697"/>
                </a:lnTo>
                <a:lnTo>
                  <a:pt x="5630" y="4567"/>
                </a:lnTo>
                <a:lnTo>
                  <a:pt x="5630" y="4455"/>
                </a:lnTo>
                <a:lnTo>
                  <a:pt x="5630" y="4325"/>
                </a:lnTo>
                <a:lnTo>
                  <a:pt x="5593" y="4213"/>
                </a:lnTo>
                <a:lnTo>
                  <a:pt x="5667" y="4101"/>
                </a:lnTo>
                <a:lnTo>
                  <a:pt x="5723" y="3989"/>
                </a:lnTo>
                <a:lnTo>
                  <a:pt x="5742" y="3877"/>
                </a:lnTo>
                <a:lnTo>
                  <a:pt x="5779" y="3747"/>
                </a:lnTo>
                <a:lnTo>
                  <a:pt x="5779" y="3635"/>
                </a:lnTo>
                <a:lnTo>
                  <a:pt x="5760" y="3523"/>
                </a:lnTo>
                <a:lnTo>
                  <a:pt x="5742" y="3393"/>
                </a:lnTo>
                <a:lnTo>
                  <a:pt x="5704" y="3299"/>
                </a:lnTo>
                <a:lnTo>
                  <a:pt x="5798" y="3169"/>
                </a:lnTo>
                <a:lnTo>
                  <a:pt x="5872" y="3038"/>
                </a:lnTo>
                <a:lnTo>
                  <a:pt x="5909" y="2889"/>
                </a:lnTo>
                <a:lnTo>
                  <a:pt x="5928" y="2722"/>
                </a:lnTo>
                <a:lnTo>
                  <a:pt x="5909" y="2591"/>
                </a:lnTo>
                <a:lnTo>
                  <a:pt x="5872" y="2461"/>
                </a:lnTo>
                <a:lnTo>
                  <a:pt x="5816" y="2349"/>
                </a:lnTo>
                <a:lnTo>
                  <a:pt x="5723" y="2256"/>
                </a:lnTo>
                <a:lnTo>
                  <a:pt x="5630" y="2162"/>
                </a:lnTo>
                <a:lnTo>
                  <a:pt x="5518" y="2106"/>
                </a:lnTo>
                <a:lnTo>
                  <a:pt x="5388" y="2069"/>
                </a:lnTo>
                <a:lnTo>
                  <a:pt x="5238" y="2051"/>
                </a:lnTo>
                <a:lnTo>
                  <a:pt x="4064" y="2051"/>
                </a:lnTo>
                <a:lnTo>
                  <a:pt x="4101" y="1920"/>
                </a:lnTo>
                <a:lnTo>
                  <a:pt x="4157" y="1808"/>
                </a:lnTo>
                <a:lnTo>
                  <a:pt x="4288" y="1566"/>
                </a:lnTo>
                <a:lnTo>
                  <a:pt x="4344" y="1435"/>
                </a:lnTo>
                <a:lnTo>
                  <a:pt x="4400" y="1286"/>
                </a:lnTo>
                <a:lnTo>
                  <a:pt x="4437" y="1119"/>
                </a:lnTo>
                <a:lnTo>
                  <a:pt x="4456" y="951"/>
                </a:lnTo>
                <a:lnTo>
                  <a:pt x="4437" y="802"/>
                </a:lnTo>
                <a:lnTo>
                  <a:pt x="4418" y="671"/>
                </a:lnTo>
                <a:lnTo>
                  <a:pt x="4400" y="541"/>
                </a:lnTo>
                <a:lnTo>
                  <a:pt x="4362" y="447"/>
                </a:lnTo>
                <a:lnTo>
                  <a:pt x="4306" y="354"/>
                </a:lnTo>
                <a:lnTo>
                  <a:pt x="4251" y="280"/>
                </a:lnTo>
                <a:lnTo>
                  <a:pt x="4195" y="205"/>
                </a:lnTo>
                <a:lnTo>
                  <a:pt x="4139" y="168"/>
                </a:lnTo>
                <a:lnTo>
                  <a:pt x="3990" y="75"/>
                </a:lnTo>
                <a:lnTo>
                  <a:pt x="3859" y="37"/>
                </a:lnTo>
                <a:lnTo>
                  <a:pt x="3729" y="19"/>
                </a:lnTo>
                <a:lnTo>
                  <a:pt x="3617" y="0"/>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8698224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81814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286" y="761603"/>
            <a:ext cx="9632553" cy="803654"/>
          </a:xfrm>
        </p:spPr>
        <p:txBody>
          <a:bodyPr/>
          <a:lstStyle/>
          <a:p>
            <a:r>
              <a:rPr lang="en-US" dirty="0">
                <a:solidFill>
                  <a:schemeClr val="bg1"/>
                </a:solidFill>
              </a:rPr>
              <a:t>Kundenreferenz Schließen</a:t>
            </a:r>
          </a:p>
          <a:p>
            <a:endParaRPr lang="en-US" dirty="0"/>
          </a:p>
        </p:txBody>
      </p:sp>
      <p:sp>
        <p:nvSpPr>
          <p:cNvPr id="3" name="Oval 2">
            <a:extLst>
              <a:ext uri="{FF2B5EF4-FFF2-40B4-BE49-F238E27FC236}">
                <a16:creationId xmlns:a16="http://schemas.microsoft.com/office/drawing/2014/main" id="{1E44C1FD-7676-3D5C-1BA7-C2628947D62A}"/>
              </a:ext>
            </a:extLst>
          </p:cNvPr>
          <p:cNvSpPr/>
          <p:nvPr/>
        </p:nvSpPr>
        <p:spPr>
          <a:xfrm>
            <a:off x="8482104" y="1717260"/>
            <a:ext cx="916056" cy="916056"/>
          </a:xfrm>
          <a:prstGeom prst="ellipse">
            <a:avLst/>
          </a:pr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cxnSp>
        <p:nvCxnSpPr>
          <p:cNvPr id="6" name="Straight Connector 5">
            <a:extLst>
              <a:ext uri="{FF2B5EF4-FFF2-40B4-BE49-F238E27FC236}">
                <a16:creationId xmlns:a16="http://schemas.microsoft.com/office/drawing/2014/main" id="{78B5F934-09AD-550B-6AB8-03CAF01005E1}"/>
              </a:ext>
            </a:extLst>
          </p:cNvPr>
          <p:cNvCxnSpPr>
            <a:cxnSpLocks/>
          </p:cNvCxnSpPr>
          <p:nvPr/>
        </p:nvCxnSpPr>
        <p:spPr>
          <a:xfrm flipH="1">
            <a:off x="8944811" y="2031539"/>
            <a:ext cx="4680" cy="3920459"/>
          </a:xfrm>
          <a:prstGeom prst="line">
            <a:avLst/>
          </a:prstGeom>
          <a:ln>
            <a:solidFill>
              <a:srgbClr val="DE0A1D"/>
            </a:solidFill>
          </a:ln>
        </p:spPr>
        <p:style>
          <a:lnRef idx="1">
            <a:schemeClr val="accent1"/>
          </a:lnRef>
          <a:fillRef idx="0">
            <a:schemeClr val="accent1"/>
          </a:fillRef>
          <a:effectRef idx="0">
            <a:schemeClr val="accent1"/>
          </a:effectRef>
          <a:fontRef idx="minor">
            <a:schemeClr val="tx1"/>
          </a:fontRef>
        </p:style>
      </p:cxnSp>
      <p:sp>
        <p:nvSpPr>
          <p:cNvPr id="7" name="Google Shape;239;p8">
            <a:extLst>
              <a:ext uri="{FF2B5EF4-FFF2-40B4-BE49-F238E27FC236}">
                <a16:creationId xmlns:a16="http://schemas.microsoft.com/office/drawing/2014/main" id="{43584A08-4F37-2687-2522-E7F485C161F4}"/>
              </a:ext>
            </a:extLst>
          </p:cNvPr>
          <p:cNvSpPr/>
          <p:nvPr/>
        </p:nvSpPr>
        <p:spPr>
          <a:xfrm>
            <a:off x="8676100" y="1964864"/>
            <a:ext cx="528063" cy="467784"/>
          </a:xfrm>
          <a:custGeom>
            <a:avLst/>
            <a:gdLst/>
            <a:ahLst/>
            <a:cxnLst/>
            <a:rect l="l" t="t" r="r" b="b"/>
            <a:pathLst>
              <a:path w="6693" h="5929" extrusionOk="0">
                <a:moveTo>
                  <a:pt x="224" y="1"/>
                </a:moveTo>
                <a:lnTo>
                  <a:pt x="168" y="20"/>
                </a:lnTo>
                <a:lnTo>
                  <a:pt x="94" y="75"/>
                </a:lnTo>
                <a:lnTo>
                  <a:pt x="19" y="169"/>
                </a:lnTo>
                <a:lnTo>
                  <a:pt x="19" y="225"/>
                </a:lnTo>
                <a:lnTo>
                  <a:pt x="1" y="281"/>
                </a:lnTo>
                <a:lnTo>
                  <a:pt x="1" y="467"/>
                </a:lnTo>
                <a:lnTo>
                  <a:pt x="19" y="523"/>
                </a:lnTo>
                <a:lnTo>
                  <a:pt x="19" y="560"/>
                </a:lnTo>
                <a:lnTo>
                  <a:pt x="94" y="653"/>
                </a:lnTo>
                <a:lnTo>
                  <a:pt x="168" y="709"/>
                </a:lnTo>
                <a:lnTo>
                  <a:pt x="224" y="728"/>
                </a:lnTo>
                <a:lnTo>
                  <a:pt x="280" y="747"/>
                </a:lnTo>
                <a:lnTo>
                  <a:pt x="1100" y="747"/>
                </a:lnTo>
                <a:lnTo>
                  <a:pt x="1902" y="4717"/>
                </a:lnTo>
                <a:lnTo>
                  <a:pt x="1827" y="4773"/>
                </a:lnTo>
                <a:lnTo>
                  <a:pt x="1771" y="4829"/>
                </a:lnTo>
                <a:lnTo>
                  <a:pt x="1715" y="4903"/>
                </a:lnTo>
                <a:lnTo>
                  <a:pt x="1659" y="4978"/>
                </a:lnTo>
                <a:lnTo>
                  <a:pt x="1622" y="5052"/>
                </a:lnTo>
                <a:lnTo>
                  <a:pt x="1604" y="5127"/>
                </a:lnTo>
                <a:lnTo>
                  <a:pt x="1585" y="5220"/>
                </a:lnTo>
                <a:lnTo>
                  <a:pt x="1585" y="5313"/>
                </a:lnTo>
                <a:lnTo>
                  <a:pt x="1604" y="5444"/>
                </a:lnTo>
                <a:lnTo>
                  <a:pt x="1641" y="5556"/>
                </a:lnTo>
                <a:lnTo>
                  <a:pt x="1697" y="5649"/>
                </a:lnTo>
                <a:lnTo>
                  <a:pt x="1771" y="5742"/>
                </a:lnTo>
                <a:lnTo>
                  <a:pt x="1864" y="5817"/>
                </a:lnTo>
                <a:lnTo>
                  <a:pt x="1976" y="5872"/>
                </a:lnTo>
                <a:lnTo>
                  <a:pt x="2088" y="5910"/>
                </a:lnTo>
                <a:lnTo>
                  <a:pt x="2200" y="5928"/>
                </a:lnTo>
                <a:lnTo>
                  <a:pt x="2330" y="5928"/>
                </a:lnTo>
                <a:lnTo>
                  <a:pt x="2461" y="5891"/>
                </a:lnTo>
                <a:lnTo>
                  <a:pt x="2573" y="5835"/>
                </a:lnTo>
                <a:lnTo>
                  <a:pt x="2685" y="5761"/>
                </a:lnTo>
                <a:lnTo>
                  <a:pt x="2759" y="5649"/>
                </a:lnTo>
                <a:lnTo>
                  <a:pt x="2834" y="5537"/>
                </a:lnTo>
                <a:lnTo>
                  <a:pt x="2871" y="5425"/>
                </a:lnTo>
                <a:lnTo>
                  <a:pt x="2890" y="5295"/>
                </a:lnTo>
                <a:lnTo>
                  <a:pt x="2871" y="5146"/>
                </a:lnTo>
                <a:lnTo>
                  <a:pt x="2834" y="5034"/>
                </a:lnTo>
                <a:lnTo>
                  <a:pt x="2759" y="4922"/>
                </a:lnTo>
                <a:lnTo>
                  <a:pt x="2685" y="4829"/>
                </a:lnTo>
                <a:lnTo>
                  <a:pt x="5126" y="4829"/>
                </a:lnTo>
                <a:lnTo>
                  <a:pt x="5033" y="4922"/>
                </a:lnTo>
                <a:lnTo>
                  <a:pt x="4977" y="5034"/>
                </a:lnTo>
                <a:lnTo>
                  <a:pt x="4940" y="5164"/>
                </a:lnTo>
                <a:lnTo>
                  <a:pt x="4921" y="5295"/>
                </a:lnTo>
                <a:lnTo>
                  <a:pt x="4940" y="5425"/>
                </a:lnTo>
                <a:lnTo>
                  <a:pt x="4977" y="5556"/>
                </a:lnTo>
                <a:lnTo>
                  <a:pt x="5033" y="5649"/>
                </a:lnTo>
                <a:lnTo>
                  <a:pt x="5126" y="5742"/>
                </a:lnTo>
                <a:lnTo>
                  <a:pt x="5220" y="5817"/>
                </a:lnTo>
                <a:lnTo>
                  <a:pt x="5313" y="5891"/>
                </a:lnTo>
                <a:lnTo>
                  <a:pt x="5443" y="5928"/>
                </a:lnTo>
                <a:lnTo>
                  <a:pt x="5704" y="5928"/>
                </a:lnTo>
                <a:lnTo>
                  <a:pt x="5816" y="5891"/>
                </a:lnTo>
                <a:lnTo>
                  <a:pt x="5928" y="5835"/>
                </a:lnTo>
                <a:lnTo>
                  <a:pt x="6021" y="5742"/>
                </a:lnTo>
                <a:lnTo>
                  <a:pt x="6114" y="5649"/>
                </a:lnTo>
                <a:lnTo>
                  <a:pt x="6170" y="5537"/>
                </a:lnTo>
                <a:lnTo>
                  <a:pt x="6208" y="5425"/>
                </a:lnTo>
                <a:lnTo>
                  <a:pt x="6226" y="5295"/>
                </a:lnTo>
                <a:lnTo>
                  <a:pt x="6208" y="5183"/>
                </a:lnTo>
                <a:lnTo>
                  <a:pt x="6189" y="5108"/>
                </a:lnTo>
                <a:lnTo>
                  <a:pt x="6170" y="5015"/>
                </a:lnTo>
                <a:lnTo>
                  <a:pt x="6114" y="4940"/>
                </a:lnTo>
                <a:lnTo>
                  <a:pt x="6077" y="4866"/>
                </a:lnTo>
                <a:lnTo>
                  <a:pt x="6003" y="4810"/>
                </a:lnTo>
                <a:lnTo>
                  <a:pt x="5928" y="4754"/>
                </a:lnTo>
                <a:lnTo>
                  <a:pt x="5853" y="4698"/>
                </a:lnTo>
                <a:lnTo>
                  <a:pt x="5928" y="4419"/>
                </a:lnTo>
                <a:lnTo>
                  <a:pt x="5928" y="4363"/>
                </a:lnTo>
                <a:lnTo>
                  <a:pt x="5928" y="4288"/>
                </a:lnTo>
                <a:lnTo>
                  <a:pt x="5891" y="4232"/>
                </a:lnTo>
                <a:lnTo>
                  <a:pt x="5872" y="4176"/>
                </a:lnTo>
                <a:lnTo>
                  <a:pt x="5816" y="4139"/>
                </a:lnTo>
                <a:lnTo>
                  <a:pt x="5779" y="4102"/>
                </a:lnTo>
                <a:lnTo>
                  <a:pt x="5723" y="4083"/>
                </a:lnTo>
                <a:lnTo>
                  <a:pt x="2536" y="4083"/>
                </a:lnTo>
                <a:lnTo>
                  <a:pt x="2461" y="3710"/>
                </a:lnTo>
                <a:lnTo>
                  <a:pt x="5853" y="3710"/>
                </a:lnTo>
                <a:lnTo>
                  <a:pt x="5947" y="3692"/>
                </a:lnTo>
                <a:lnTo>
                  <a:pt x="6040" y="3654"/>
                </a:lnTo>
                <a:lnTo>
                  <a:pt x="6096" y="3580"/>
                </a:lnTo>
                <a:lnTo>
                  <a:pt x="6133" y="3487"/>
                </a:lnTo>
                <a:lnTo>
                  <a:pt x="6674" y="1082"/>
                </a:lnTo>
                <a:lnTo>
                  <a:pt x="6692" y="1007"/>
                </a:lnTo>
                <a:lnTo>
                  <a:pt x="6674" y="952"/>
                </a:lnTo>
                <a:lnTo>
                  <a:pt x="6655" y="896"/>
                </a:lnTo>
                <a:lnTo>
                  <a:pt x="6618" y="840"/>
                </a:lnTo>
                <a:lnTo>
                  <a:pt x="6580" y="802"/>
                </a:lnTo>
                <a:lnTo>
                  <a:pt x="6524" y="765"/>
                </a:lnTo>
                <a:lnTo>
                  <a:pt x="6469" y="747"/>
                </a:lnTo>
                <a:lnTo>
                  <a:pt x="1846" y="747"/>
                </a:lnTo>
                <a:lnTo>
                  <a:pt x="1753" y="225"/>
                </a:lnTo>
                <a:lnTo>
                  <a:pt x="1715" y="131"/>
                </a:lnTo>
                <a:lnTo>
                  <a:pt x="1641" y="57"/>
                </a:lnTo>
                <a:lnTo>
                  <a:pt x="1566" y="20"/>
                </a:lnTo>
                <a:lnTo>
                  <a:pt x="1473" y="1"/>
                </a:lnTo>
                <a:close/>
              </a:path>
            </a:pathLst>
          </a:custGeom>
          <a:noFill/>
          <a:ln w="1905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TextBox 9">
            <a:extLst>
              <a:ext uri="{FF2B5EF4-FFF2-40B4-BE49-F238E27FC236}">
                <a16:creationId xmlns:a16="http://schemas.microsoft.com/office/drawing/2014/main" id="{EDD1EC26-CC1C-69B4-38EE-70C71DA37E15}"/>
              </a:ext>
            </a:extLst>
          </p:cNvPr>
          <p:cNvSpPr txBox="1"/>
          <p:nvPr/>
        </p:nvSpPr>
        <p:spPr>
          <a:xfrm>
            <a:off x="812148" y="1565257"/>
            <a:ext cx="7863952" cy="3477875"/>
          </a:xfrm>
          <a:prstGeom prst="rect">
            <a:avLst/>
          </a:prstGeom>
          <a:noFill/>
        </p:spPr>
        <p:txBody>
          <a:bodyPr wrap="square">
            <a:spAutoFit/>
          </a:bodyPr>
          <a:lstStyle/>
          <a:p>
            <a:pPr>
              <a:spcBef>
                <a:spcPts val="0"/>
              </a:spcBef>
            </a:pPr>
            <a:r>
              <a:rPr lang="en-US" sz="2000" dirty="0">
                <a:solidFill>
                  <a:srgbClr val="595959"/>
                </a:solidFill>
              </a:rPr>
              <a:t>Nutzen Sie die Empfehlung eines zufriedenen Kunden zum Abschluss</a:t>
            </a:r>
          </a:p>
          <a:p>
            <a:pPr>
              <a:spcBef>
                <a:spcPts val="0"/>
              </a:spcBef>
            </a:pPr>
            <a:r>
              <a:rPr lang="en-US" sz="2000" dirty="0">
                <a:solidFill>
                  <a:srgbClr val="595959"/>
                </a:solidFill>
              </a:rPr>
              <a:t>das Geschäft</a:t>
            </a:r>
          </a:p>
          <a:p>
            <a:pPr>
              <a:spcBef>
                <a:spcPts val="0"/>
              </a:spcBef>
            </a:pPr>
            <a:endParaRPr lang="en-US" sz="2000" dirty="0">
              <a:solidFill>
                <a:srgbClr val="595959"/>
              </a:solidFill>
            </a:endParaRPr>
          </a:p>
          <a:p>
            <a:pPr marL="285750" indent="-285750">
              <a:spcBef>
                <a:spcPts val="0"/>
              </a:spcBef>
              <a:buClr>
                <a:srgbClr val="DE0A1D"/>
              </a:buClr>
              <a:buFont typeface="Arial" panose="020B0604020202020204" pitchFamily="34" charset="0"/>
              <a:buChar char="•"/>
            </a:pPr>
            <a:r>
              <a:rPr lang="en-US" sz="2000" i="1" dirty="0">
                <a:solidFill>
                  <a:srgbClr val="595959"/>
                </a:solidFill>
              </a:rPr>
              <a:t>Wir haben eine Reihe zufriedener Kunden, die mit unseren Dienstleistungen sehr zufrieden sind - möchten Sie, dass ich einen Anruf/Besuch mit einem von ihnen vereinbare?</a:t>
            </a:r>
          </a:p>
          <a:p>
            <a:pPr marL="285750" indent="-285750">
              <a:spcBef>
                <a:spcPts val="0"/>
              </a:spcBef>
              <a:buClr>
                <a:srgbClr val="DE0A1D"/>
              </a:buClr>
              <a:buFont typeface="Arial" panose="020B0604020202020204" pitchFamily="34" charset="0"/>
              <a:buChar char="•"/>
            </a:pPr>
            <a:r>
              <a:rPr lang="en-US" sz="2000" i="1" dirty="0">
                <a:solidFill>
                  <a:srgbClr val="595959"/>
                </a:solidFill>
              </a:rPr>
              <a:t>Hier ist ein Referenzschreiben von einer Kundin, die vor einem Monat bei mir gekauft hat. Möchten Sie ihr Feedback lesen?</a:t>
            </a:r>
          </a:p>
          <a:p>
            <a:pPr marL="342900" indent="-342900">
              <a:spcBef>
                <a:spcPts val="0"/>
              </a:spcBef>
              <a:buClr>
                <a:srgbClr val="EC2179"/>
              </a:buClr>
              <a:buFont typeface="Arial" charset="0"/>
              <a:buChar char="•"/>
            </a:pPr>
            <a:endParaRPr lang="en-US" sz="2000" i="1" dirty="0"/>
          </a:p>
          <a:p>
            <a:pPr>
              <a:spcBef>
                <a:spcPts val="0"/>
              </a:spcBef>
            </a:pPr>
            <a:r>
              <a:rPr lang="en-US" sz="2000" b="1" dirty="0">
                <a:solidFill>
                  <a:srgbClr val="DE0A1D"/>
                </a:solidFill>
              </a:rPr>
              <a:t>Grundlegende Philosophie: </a:t>
            </a:r>
            <a:r>
              <a:rPr lang="en-US" sz="2000" dirty="0">
                <a:solidFill>
                  <a:srgbClr val="DE0A1D"/>
                </a:solidFill>
              </a:rPr>
              <a:t>Der Interessent soll durch Beweise aus einer glaubwürdigen dritten Quelle überzeugt werden.</a:t>
            </a:r>
          </a:p>
        </p:txBody>
      </p:sp>
    </p:spTree>
    <p:extLst>
      <p:ext uri="{BB962C8B-B14F-4D97-AF65-F5344CB8AC3E}">
        <p14:creationId xmlns:p14="http://schemas.microsoft.com/office/powerpoint/2010/main" val="103215265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CB42B5B-EE50-B026-56FE-43C4E56FC3A9}"/>
              </a:ext>
            </a:extLst>
          </p:cNvPr>
          <p:cNvGraphicFramePr>
            <a:graphicFrameLocks noChangeAspect="1"/>
          </p:cNvGraphicFramePr>
          <p:nvPr>
            <p:custDataLst>
              <p:tags r:id="rId1"/>
            </p:custDataLst>
            <p:extLst>
              <p:ext uri="{D42A27DB-BD31-4B8C-83A1-F6EECF244321}">
                <p14:modId xmlns:p14="http://schemas.microsoft.com/office/powerpoint/2010/main" val="21953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7474C93-C61B-CBCC-1438-A349A9569886}"/>
              </a:ext>
            </a:extLst>
          </p:cNvPr>
          <p:cNvSpPr>
            <a:spLocks noGrp="1"/>
          </p:cNvSpPr>
          <p:nvPr>
            <p:ph type="body" sz="quarter" idx="35"/>
          </p:nvPr>
        </p:nvSpPr>
        <p:spPr/>
        <p:txBody>
          <a:bodyPr/>
          <a:lstStyle/>
          <a:p>
            <a:r>
              <a:rPr lang="en-GB" dirty="0">
                <a:solidFill>
                  <a:srgbClr val="DE0A1D"/>
                </a:solidFill>
              </a:rPr>
              <a:t>Starke einleitende Verben</a:t>
            </a:r>
            <a:endParaRPr lang="en-IE" dirty="0">
              <a:solidFill>
                <a:srgbClr val="DE0A1D"/>
              </a:solidFill>
            </a:endParaRPr>
          </a:p>
        </p:txBody>
      </p:sp>
      <p:sp>
        <p:nvSpPr>
          <p:cNvPr id="3" name="Text Placeholder 2">
            <a:extLst>
              <a:ext uri="{FF2B5EF4-FFF2-40B4-BE49-F238E27FC236}">
                <a16:creationId xmlns:a16="http://schemas.microsoft.com/office/drawing/2014/main" id="{C0AC6FBE-C78E-0C67-F1E3-96FE424E8CE2}"/>
              </a:ext>
            </a:extLst>
          </p:cNvPr>
          <p:cNvSpPr>
            <a:spLocks noGrp="1"/>
          </p:cNvSpPr>
          <p:nvPr>
            <p:ph type="body" sz="quarter" idx="36"/>
          </p:nvPr>
        </p:nvSpPr>
        <p:spPr>
          <a:xfrm>
            <a:off x="4141347" y="1345616"/>
            <a:ext cx="7324181" cy="999383"/>
          </a:xfrm>
        </p:spPr>
        <p:txBody>
          <a:bodyPr/>
          <a:lstStyle/>
          <a:p>
            <a:pPr marL="134938" lvl="1" indent="0" algn="r">
              <a:lnSpc>
                <a:spcPts val="2400"/>
              </a:lnSpc>
              <a:buClr>
                <a:srgbClr val="EC2179"/>
              </a:buClr>
              <a:buNone/>
              <a:tabLst>
                <a:tab pos="657225" algn="l"/>
              </a:tabLst>
            </a:pPr>
            <a:r>
              <a:rPr lang="en-GB" altLang="en-US" sz="1800" dirty="0">
                <a:solidFill>
                  <a:srgbClr val="003841"/>
                </a:solidFill>
              </a:rPr>
              <a:t>Hier klicken, jetzt buchen, dies lesen, hier herunterladen,</a:t>
            </a:r>
          </a:p>
          <a:p>
            <a:pPr marL="134938" lvl="1" indent="0" algn="r">
              <a:lnSpc>
                <a:spcPts val="2400"/>
              </a:lnSpc>
              <a:buClr>
                <a:srgbClr val="EC2179"/>
              </a:buClr>
              <a:buNone/>
              <a:tabLst>
                <a:tab pos="657225" algn="l"/>
              </a:tabLst>
            </a:pPr>
            <a:r>
              <a:rPr lang="en-GB" altLang="en-US" sz="1800" dirty="0">
                <a:solidFill>
                  <a:srgbClr val="003841"/>
                </a:solidFill>
              </a:rPr>
              <a:t>Jetzt anrufen, E-Mail für weitere Informationen, jetzt bestellen, jetzt kaufen usw. </a:t>
            </a:r>
            <a:endParaRPr lang="en-IE" sz="1800" dirty="0"/>
          </a:p>
        </p:txBody>
      </p:sp>
      <p:sp>
        <p:nvSpPr>
          <p:cNvPr id="4" name="Text Placeholder 3">
            <a:extLst>
              <a:ext uri="{FF2B5EF4-FFF2-40B4-BE49-F238E27FC236}">
                <a16:creationId xmlns:a16="http://schemas.microsoft.com/office/drawing/2014/main" id="{11FE7F97-059E-BF74-7CD0-00C72C893CE1}"/>
              </a:ext>
            </a:extLst>
          </p:cNvPr>
          <p:cNvSpPr>
            <a:spLocks noGrp="1"/>
          </p:cNvSpPr>
          <p:nvPr>
            <p:ph type="body" sz="quarter" idx="37"/>
          </p:nvPr>
        </p:nvSpPr>
        <p:spPr/>
        <p:txBody>
          <a:bodyPr/>
          <a:lstStyle/>
          <a:p>
            <a:endParaRPr lang="en-IE"/>
          </a:p>
        </p:txBody>
      </p:sp>
      <p:sp>
        <p:nvSpPr>
          <p:cNvPr id="6" name="Text Placeholder 5">
            <a:extLst>
              <a:ext uri="{FF2B5EF4-FFF2-40B4-BE49-F238E27FC236}">
                <a16:creationId xmlns:a16="http://schemas.microsoft.com/office/drawing/2014/main" id="{DA2E220A-8BFF-7F58-24BA-A2CB07E96299}"/>
              </a:ext>
            </a:extLst>
          </p:cNvPr>
          <p:cNvSpPr>
            <a:spLocks noGrp="1"/>
          </p:cNvSpPr>
          <p:nvPr>
            <p:ph type="body" sz="quarter" idx="42"/>
          </p:nvPr>
        </p:nvSpPr>
        <p:spPr/>
        <p:txBody>
          <a:bodyPr/>
          <a:lstStyle/>
          <a:p>
            <a:r>
              <a:rPr lang="en-GB" dirty="0">
                <a:solidFill>
                  <a:srgbClr val="DE0A1D"/>
                </a:solidFill>
              </a:rPr>
              <a:t>Zeigen, nicht erzählen</a:t>
            </a:r>
            <a:endParaRPr lang="en-IE" dirty="0">
              <a:solidFill>
                <a:srgbClr val="DE0A1D"/>
              </a:solidFill>
            </a:endParaRPr>
          </a:p>
        </p:txBody>
      </p:sp>
      <p:sp>
        <p:nvSpPr>
          <p:cNvPr id="7" name="Text Placeholder 6">
            <a:extLst>
              <a:ext uri="{FF2B5EF4-FFF2-40B4-BE49-F238E27FC236}">
                <a16:creationId xmlns:a16="http://schemas.microsoft.com/office/drawing/2014/main" id="{6197DA87-21E0-D7A9-5D22-C5DCE78ACB2C}"/>
              </a:ext>
            </a:extLst>
          </p:cNvPr>
          <p:cNvSpPr>
            <a:spLocks noGrp="1"/>
          </p:cNvSpPr>
          <p:nvPr>
            <p:ph type="body" sz="quarter" idx="43"/>
          </p:nvPr>
        </p:nvSpPr>
        <p:spPr>
          <a:xfrm>
            <a:off x="4345583" y="3216223"/>
            <a:ext cx="7144884" cy="999383"/>
          </a:xfrm>
        </p:spPr>
        <p:txBody>
          <a:bodyPr/>
          <a:lstStyle/>
          <a:p>
            <a:r>
              <a:rPr lang="en-GB" altLang="en-US" sz="1800" dirty="0">
                <a:solidFill>
                  <a:srgbClr val="003841"/>
                </a:solidFill>
              </a:rPr>
              <a:t>Wenn Sie möchten, dass sie anrufen.  Geben Sie Ihre direkte Telefonnummer an.                            Wenn Ihre Aufforderung zum Handeln über das Internet erfolgt, dann verlinken Sie sie mit der entsprechenden Seite. Verwenden Sie eine Schaltfläche für die Aufforderung zum Handeln</a:t>
            </a:r>
            <a:endParaRPr lang="en-IE" sz="1800" dirty="0"/>
          </a:p>
        </p:txBody>
      </p:sp>
      <p:sp>
        <p:nvSpPr>
          <p:cNvPr id="8" name="Text Placeholder 7">
            <a:extLst>
              <a:ext uri="{FF2B5EF4-FFF2-40B4-BE49-F238E27FC236}">
                <a16:creationId xmlns:a16="http://schemas.microsoft.com/office/drawing/2014/main" id="{42C01080-5CD8-F5C6-D61A-E1B784012F97}"/>
              </a:ext>
            </a:extLst>
          </p:cNvPr>
          <p:cNvSpPr>
            <a:spLocks noGrp="1"/>
          </p:cNvSpPr>
          <p:nvPr>
            <p:ph type="body" sz="quarter" idx="44"/>
          </p:nvPr>
        </p:nvSpPr>
        <p:spPr/>
        <p:txBody>
          <a:bodyPr/>
          <a:lstStyle/>
          <a:p>
            <a:endParaRPr lang="en-IE"/>
          </a:p>
        </p:txBody>
      </p:sp>
      <p:sp>
        <p:nvSpPr>
          <p:cNvPr id="9" name="Text Placeholder 8">
            <a:extLst>
              <a:ext uri="{FF2B5EF4-FFF2-40B4-BE49-F238E27FC236}">
                <a16:creationId xmlns:a16="http://schemas.microsoft.com/office/drawing/2014/main" id="{27E36A96-473A-F206-B3E6-1ED742121BA1}"/>
              </a:ext>
            </a:extLst>
          </p:cNvPr>
          <p:cNvSpPr>
            <a:spLocks noGrp="1"/>
          </p:cNvSpPr>
          <p:nvPr>
            <p:ph type="body" sz="quarter" idx="45"/>
          </p:nvPr>
        </p:nvSpPr>
        <p:spPr/>
        <p:txBody>
          <a:bodyPr/>
          <a:lstStyle/>
          <a:p>
            <a:r>
              <a:rPr lang="en-GB" dirty="0">
                <a:solidFill>
                  <a:srgbClr val="DE0A1D"/>
                </a:solidFill>
              </a:rPr>
              <a:t>Mach es zackig</a:t>
            </a:r>
            <a:endParaRPr lang="en-IE" dirty="0">
              <a:solidFill>
                <a:srgbClr val="DE0A1D"/>
              </a:solidFill>
            </a:endParaRPr>
          </a:p>
        </p:txBody>
      </p:sp>
      <p:sp>
        <p:nvSpPr>
          <p:cNvPr id="10" name="Text Placeholder 9">
            <a:extLst>
              <a:ext uri="{FF2B5EF4-FFF2-40B4-BE49-F238E27FC236}">
                <a16:creationId xmlns:a16="http://schemas.microsoft.com/office/drawing/2014/main" id="{810FB509-A900-32F9-FED4-957C88604475}"/>
              </a:ext>
            </a:extLst>
          </p:cNvPr>
          <p:cNvSpPr>
            <a:spLocks noGrp="1"/>
          </p:cNvSpPr>
          <p:nvPr>
            <p:ph type="body" sz="quarter" idx="46"/>
          </p:nvPr>
        </p:nvSpPr>
        <p:spPr>
          <a:xfrm>
            <a:off x="4345583" y="5132546"/>
            <a:ext cx="7135442" cy="999383"/>
          </a:xfrm>
        </p:spPr>
        <p:txBody>
          <a:bodyPr/>
          <a:lstStyle/>
          <a:p>
            <a:r>
              <a:rPr lang="en-GB" altLang="en-US" sz="1800" dirty="0">
                <a:solidFill>
                  <a:srgbClr val="003841"/>
                </a:solidFill>
              </a:rPr>
              <a:t>Sie haben nur Sekunden, um die Aufmerksamkeit Ihres Kunden zu erregen. Denken Sie sich einen guten Slogan aus, z. B. "Wir </a:t>
            </a:r>
            <a:r>
              <a:rPr lang="en-GB" altLang="en-US" sz="1800" i="1" dirty="0">
                <a:solidFill>
                  <a:srgbClr val="003841"/>
                </a:solidFill>
              </a:rPr>
              <a:t>könnten Ihnen 15 % oder mehr bei </a:t>
            </a:r>
            <a:r>
              <a:rPr lang="en-GB" altLang="en-US" sz="1400" i="1" dirty="0">
                <a:solidFill>
                  <a:srgbClr val="003841"/>
                </a:solidFill>
              </a:rPr>
              <a:t>..........</a:t>
            </a:r>
            <a:r>
              <a:rPr lang="en-GB" altLang="en-US" sz="1800" i="1" dirty="0">
                <a:solidFill>
                  <a:srgbClr val="003841"/>
                </a:solidFill>
              </a:rPr>
              <a:t> sparen</a:t>
            </a:r>
            <a:r>
              <a:rPr lang="en-GB" altLang="en-US" sz="1400" i="1" dirty="0">
                <a:solidFill>
                  <a:srgbClr val="003841"/>
                </a:solidFill>
              </a:rPr>
              <a:t>".</a:t>
            </a:r>
            <a:endParaRPr lang="en-IE" sz="1400" dirty="0"/>
          </a:p>
        </p:txBody>
      </p:sp>
      <p:sp>
        <p:nvSpPr>
          <p:cNvPr id="11" name="Text Placeholder 10">
            <a:extLst>
              <a:ext uri="{FF2B5EF4-FFF2-40B4-BE49-F238E27FC236}">
                <a16:creationId xmlns:a16="http://schemas.microsoft.com/office/drawing/2014/main" id="{9D98BD04-3C25-D6F6-1C85-3B42C86CBBE1}"/>
              </a:ext>
            </a:extLst>
          </p:cNvPr>
          <p:cNvSpPr>
            <a:spLocks noGrp="1"/>
          </p:cNvSpPr>
          <p:nvPr>
            <p:ph type="body" sz="quarter" idx="47"/>
          </p:nvPr>
        </p:nvSpPr>
        <p:spPr/>
        <p:txBody>
          <a:bodyPr/>
          <a:lstStyle/>
          <a:p>
            <a:endParaRPr lang="en-IE"/>
          </a:p>
        </p:txBody>
      </p:sp>
      <p:sp>
        <p:nvSpPr>
          <p:cNvPr id="15" name="TextBox 14">
            <a:extLst>
              <a:ext uri="{FF2B5EF4-FFF2-40B4-BE49-F238E27FC236}">
                <a16:creationId xmlns:a16="http://schemas.microsoft.com/office/drawing/2014/main" id="{4E405A46-9DE1-727B-0F71-C350EE3FB481}"/>
              </a:ext>
            </a:extLst>
          </p:cNvPr>
          <p:cNvSpPr txBox="1"/>
          <p:nvPr/>
        </p:nvSpPr>
        <p:spPr>
          <a:xfrm>
            <a:off x="9731229" y="121760"/>
            <a:ext cx="1858137" cy="646331"/>
          </a:xfrm>
          <a:prstGeom prst="rect">
            <a:avLst/>
          </a:prstGeom>
          <a:noFill/>
        </p:spPr>
        <p:txBody>
          <a:bodyPr wrap="none" rtlCol="0">
            <a:spAutoFit/>
          </a:bodyPr>
          <a:lstStyle/>
          <a:p>
            <a:r>
              <a:rPr lang="en-GB" sz="3600" b="1" dirty="0">
                <a:solidFill>
                  <a:srgbClr val="DE0A1D"/>
                </a:solidFill>
              </a:rPr>
              <a:t>INKLUSIVE</a:t>
            </a:r>
            <a:endParaRPr lang="en-IE" sz="3600" b="1" dirty="0">
              <a:solidFill>
                <a:srgbClr val="DE0A1D"/>
              </a:solidFill>
            </a:endParaRPr>
          </a:p>
        </p:txBody>
      </p:sp>
      <p:pic>
        <p:nvPicPr>
          <p:cNvPr id="5" name="Picture Placeholder 12">
            <a:extLst>
              <a:ext uri="{FF2B5EF4-FFF2-40B4-BE49-F238E27FC236}">
                <a16:creationId xmlns:a16="http://schemas.microsoft.com/office/drawing/2014/main" id="{0ADCC9A7-2979-264B-27DF-111AEA1AD6A5}"/>
              </a:ext>
            </a:extLst>
          </p:cNvPr>
          <p:cNvPicPr>
            <a:picLocks noGrp="1" noChangeAspect="1"/>
          </p:cNvPicPr>
          <p:nvPr>
            <p:ph type="pic" sz="quarter" idx="41"/>
          </p:nvPr>
        </p:nvPicPr>
        <p:blipFill>
          <a:blip r:embed="rId5"/>
          <a:srcRect l="7529" r="7529"/>
          <a:stretch>
            <a:fillRect/>
          </a:stretch>
        </p:blipFill>
        <p:spPr>
          <a:xfrm>
            <a:off x="7938" y="188913"/>
            <a:ext cx="3354387" cy="5922962"/>
          </a:xfrm>
        </p:spPr>
      </p:pic>
      <p:sp>
        <p:nvSpPr>
          <p:cNvPr id="14" name="Freeform 10">
            <a:extLst>
              <a:ext uri="{FF2B5EF4-FFF2-40B4-BE49-F238E27FC236}">
                <a16:creationId xmlns:a16="http://schemas.microsoft.com/office/drawing/2014/main" id="{56171945-83FC-CDB7-75BF-5115113135E1}"/>
              </a:ext>
            </a:extLst>
          </p:cNvPr>
          <p:cNvSpPr/>
          <p:nvPr/>
        </p:nvSpPr>
        <p:spPr>
          <a:xfrm>
            <a:off x="-1" y="-9010"/>
            <a:ext cx="8829677" cy="69661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3600" b="0" i="0" dirty="0">
                <a:latin typeface="Calibri" panose="020F0502020204030204" pitchFamily="34" charset="0"/>
              </a:rPr>
              <a:t>Erstellen Sie überzeugende Handlungsaufrufe</a:t>
            </a:r>
          </a:p>
        </p:txBody>
      </p:sp>
    </p:spTree>
    <p:extLst>
      <p:ext uri="{BB962C8B-B14F-4D97-AF65-F5344CB8AC3E}">
        <p14:creationId xmlns:p14="http://schemas.microsoft.com/office/powerpoint/2010/main" val="214794056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474C93-C61B-CBCC-1438-A349A9569886}"/>
              </a:ext>
            </a:extLst>
          </p:cNvPr>
          <p:cNvSpPr>
            <a:spLocks noGrp="1"/>
          </p:cNvSpPr>
          <p:nvPr>
            <p:ph type="body" sz="quarter" idx="35"/>
          </p:nvPr>
        </p:nvSpPr>
        <p:spPr/>
        <p:txBody>
          <a:bodyPr/>
          <a:lstStyle/>
          <a:p>
            <a:r>
              <a:rPr lang="en-GB" dirty="0">
                <a:solidFill>
                  <a:srgbClr val="DE0A1D"/>
                </a:solidFill>
              </a:rPr>
              <a:t>Nachweis verwenden</a:t>
            </a:r>
            <a:endParaRPr lang="en-IE" dirty="0">
              <a:solidFill>
                <a:srgbClr val="DE0A1D"/>
              </a:solidFill>
            </a:endParaRPr>
          </a:p>
        </p:txBody>
      </p:sp>
      <p:sp>
        <p:nvSpPr>
          <p:cNvPr id="3" name="Text Placeholder 2">
            <a:extLst>
              <a:ext uri="{FF2B5EF4-FFF2-40B4-BE49-F238E27FC236}">
                <a16:creationId xmlns:a16="http://schemas.microsoft.com/office/drawing/2014/main" id="{C0AC6FBE-C78E-0C67-F1E3-96FE424E8CE2}"/>
              </a:ext>
            </a:extLst>
          </p:cNvPr>
          <p:cNvSpPr>
            <a:spLocks noGrp="1"/>
          </p:cNvSpPr>
          <p:nvPr>
            <p:ph type="body" sz="quarter" idx="36"/>
          </p:nvPr>
        </p:nvSpPr>
        <p:spPr>
          <a:xfrm>
            <a:off x="4345582" y="1271940"/>
            <a:ext cx="7129387" cy="999383"/>
          </a:xfrm>
        </p:spPr>
        <p:txBody>
          <a:bodyPr/>
          <a:lstStyle/>
          <a:p>
            <a:r>
              <a:rPr lang="en-GB" altLang="en-US" sz="2000" dirty="0">
                <a:solidFill>
                  <a:srgbClr val="003841"/>
                </a:solidFill>
              </a:rPr>
              <a:t>Untermauern Sie Ihre Vorteile nach Möglichkeit mit Daten, z. B. "Über 90 % unserer Kunden geben an, dass die Verwaltungskosten mit dieser Software gesenkt werden". </a:t>
            </a:r>
            <a:endParaRPr lang="en-IE" sz="2000" dirty="0"/>
          </a:p>
        </p:txBody>
      </p:sp>
      <p:sp>
        <p:nvSpPr>
          <p:cNvPr id="4" name="Text Placeholder 3">
            <a:extLst>
              <a:ext uri="{FF2B5EF4-FFF2-40B4-BE49-F238E27FC236}">
                <a16:creationId xmlns:a16="http://schemas.microsoft.com/office/drawing/2014/main" id="{11FE7F97-059E-BF74-7CD0-00C72C893CE1}"/>
              </a:ext>
            </a:extLst>
          </p:cNvPr>
          <p:cNvSpPr>
            <a:spLocks noGrp="1"/>
          </p:cNvSpPr>
          <p:nvPr>
            <p:ph type="body" sz="quarter" idx="37"/>
          </p:nvPr>
        </p:nvSpPr>
        <p:spPr/>
        <p:txBody>
          <a:bodyPr/>
          <a:lstStyle/>
          <a:p>
            <a:r>
              <a:rPr lang="en-GB" dirty="0"/>
              <a:t>4</a:t>
            </a:r>
            <a:endParaRPr lang="en-IE" dirty="0"/>
          </a:p>
        </p:txBody>
      </p:sp>
      <p:sp>
        <p:nvSpPr>
          <p:cNvPr id="6" name="Text Placeholder 5">
            <a:extLst>
              <a:ext uri="{FF2B5EF4-FFF2-40B4-BE49-F238E27FC236}">
                <a16:creationId xmlns:a16="http://schemas.microsoft.com/office/drawing/2014/main" id="{DA2E220A-8BFF-7F58-24BA-A2CB07E96299}"/>
              </a:ext>
            </a:extLst>
          </p:cNvPr>
          <p:cNvSpPr>
            <a:spLocks noGrp="1"/>
          </p:cNvSpPr>
          <p:nvPr>
            <p:ph type="body" sz="quarter" idx="42"/>
          </p:nvPr>
        </p:nvSpPr>
        <p:spPr/>
        <p:txBody>
          <a:bodyPr/>
          <a:lstStyle/>
          <a:p>
            <a:r>
              <a:rPr lang="en-GB" dirty="0">
                <a:solidFill>
                  <a:srgbClr val="DE0A1D"/>
                </a:solidFill>
              </a:rPr>
              <a:t>Test, Test und nochmals Test</a:t>
            </a:r>
            <a:endParaRPr lang="en-IE" dirty="0">
              <a:solidFill>
                <a:srgbClr val="DE0A1D"/>
              </a:solidFill>
            </a:endParaRPr>
          </a:p>
        </p:txBody>
      </p:sp>
      <p:sp>
        <p:nvSpPr>
          <p:cNvPr id="7" name="Text Placeholder 6">
            <a:extLst>
              <a:ext uri="{FF2B5EF4-FFF2-40B4-BE49-F238E27FC236}">
                <a16:creationId xmlns:a16="http://schemas.microsoft.com/office/drawing/2014/main" id="{6197DA87-21E0-D7A9-5D22-C5DCE78ACB2C}"/>
              </a:ext>
            </a:extLst>
          </p:cNvPr>
          <p:cNvSpPr>
            <a:spLocks noGrp="1"/>
          </p:cNvSpPr>
          <p:nvPr>
            <p:ph type="body" sz="quarter" idx="43"/>
          </p:nvPr>
        </p:nvSpPr>
        <p:spPr>
          <a:xfrm>
            <a:off x="4638514" y="3268749"/>
            <a:ext cx="6827013" cy="999383"/>
          </a:xfrm>
        </p:spPr>
        <p:txBody>
          <a:bodyPr/>
          <a:lstStyle/>
          <a:p>
            <a:r>
              <a:rPr lang="en-GB" altLang="en-US" sz="2000" dirty="0">
                <a:solidFill>
                  <a:srgbClr val="003841"/>
                </a:solidFill>
              </a:rPr>
              <a:t>Testen Sie, um herauszufinden, welche Aktionsaufrufe besser funktionieren, wenn es darum geht, Kunden in die Kaufphase zu bringen. Überwachen Sie die Analyse Ihrer Verkaufsdaten und reagieren Sie entsprechend</a:t>
            </a:r>
          </a:p>
          <a:p>
            <a:endParaRPr lang="en-IE" sz="2000" dirty="0"/>
          </a:p>
        </p:txBody>
      </p:sp>
      <p:sp>
        <p:nvSpPr>
          <p:cNvPr id="8" name="Text Placeholder 7">
            <a:extLst>
              <a:ext uri="{FF2B5EF4-FFF2-40B4-BE49-F238E27FC236}">
                <a16:creationId xmlns:a16="http://schemas.microsoft.com/office/drawing/2014/main" id="{42C01080-5CD8-F5C6-D61A-E1B784012F97}"/>
              </a:ext>
            </a:extLst>
          </p:cNvPr>
          <p:cNvSpPr>
            <a:spLocks noGrp="1"/>
          </p:cNvSpPr>
          <p:nvPr>
            <p:ph type="body" sz="quarter" idx="44"/>
          </p:nvPr>
        </p:nvSpPr>
        <p:spPr/>
        <p:txBody>
          <a:bodyPr/>
          <a:lstStyle/>
          <a:p>
            <a:r>
              <a:rPr lang="en-GB" dirty="0"/>
              <a:t>5</a:t>
            </a:r>
            <a:endParaRPr lang="en-IE" dirty="0"/>
          </a:p>
        </p:txBody>
      </p:sp>
      <p:sp>
        <p:nvSpPr>
          <p:cNvPr id="9" name="Text Placeholder 8">
            <a:extLst>
              <a:ext uri="{FF2B5EF4-FFF2-40B4-BE49-F238E27FC236}">
                <a16:creationId xmlns:a16="http://schemas.microsoft.com/office/drawing/2014/main" id="{27E36A96-473A-F206-B3E6-1ED742121BA1}"/>
              </a:ext>
            </a:extLst>
          </p:cNvPr>
          <p:cNvSpPr>
            <a:spLocks noGrp="1"/>
          </p:cNvSpPr>
          <p:nvPr>
            <p:ph type="body" sz="quarter" idx="45"/>
          </p:nvPr>
        </p:nvSpPr>
        <p:spPr>
          <a:xfrm>
            <a:off x="4336141" y="5022174"/>
            <a:ext cx="7019135" cy="339415"/>
          </a:xfrm>
        </p:spPr>
        <p:txBody>
          <a:bodyPr/>
          <a:lstStyle/>
          <a:p>
            <a:r>
              <a:rPr lang="en-GB" sz="2800" dirty="0">
                <a:solidFill>
                  <a:srgbClr val="47B5C8"/>
                </a:solidFill>
              </a:rPr>
              <a:t>Denken Sie immer daran, um den Verkauf zu bitten</a:t>
            </a:r>
            <a:endParaRPr lang="en-IE" sz="2800" dirty="0">
              <a:solidFill>
                <a:srgbClr val="47B5C8"/>
              </a:solidFill>
            </a:endParaRPr>
          </a:p>
        </p:txBody>
      </p:sp>
      <p:sp>
        <p:nvSpPr>
          <p:cNvPr id="14" name="Freeform 10">
            <a:extLst>
              <a:ext uri="{FF2B5EF4-FFF2-40B4-BE49-F238E27FC236}">
                <a16:creationId xmlns:a16="http://schemas.microsoft.com/office/drawing/2014/main" id="{56171945-83FC-CDB7-75BF-5115113135E1}"/>
              </a:ext>
            </a:extLst>
          </p:cNvPr>
          <p:cNvSpPr/>
          <p:nvPr/>
        </p:nvSpPr>
        <p:spPr>
          <a:xfrm>
            <a:off x="-1" y="-9010"/>
            <a:ext cx="8928243" cy="69661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3600" b="0" i="0" dirty="0">
                <a:latin typeface="Calibri" panose="020F0502020204030204" pitchFamily="34" charset="0"/>
              </a:rPr>
              <a:t>Erstellen Sie überzeugende Handlungsaufrufe</a:t>
            </a:r>
          </a:p>
        </p:txBody>
      </p:sp>
      <p:sp>
        <p:nvSpPr>
          <p:cNvPr id="15" name="TextBox 14">
            <a:extLst>
              <a:ext uri="{FF2B5EF4-FFF2-40B4-BE49-F238E27FC236}">
                <a16:creationId xmlns:a16="http://schemas.microsoft.com/office/drawing/2014/main" id="{4E405A46-9DE1-727B-0F71-C350EE3FB481}"/>
              </a:ext>
            </a:extLst>
          </p:cNvPr>
          <p:cNvSpPr txBox="1"/>
          <p:nvPr/>
        </p:nvSpPr>
        <p:spPr>
          <a:xfrm>
            <a:off x="9731229" y="121760"/>
            <a:ext cx="1858137" cy="646331"/>
          </a:xfrm>
          <a:prstGeom prst="rect">
            <a:avLst/>
          </a:prstGeom>
          <a:noFill/>
        </p:spPr>
        <p:txBody>
          <a:bodyPr wrap="none" rtlCol="0">
            <a:spAutoFit/>
          </a:bodyPr>
          <a:lstStyle/>
          <a:p>
            <a:r>
              <a:rPr lang="en-GB" sz="3600" b="1" dirty="0">
                <a:solidFill>
                  <a:srgbClr val="DE0A1D"/>
                </a:solidFill>
              </a:rPr>
              <a:t>INKLUSIVE</a:t>
            </a:r>
            <a:endParaRPr lang="en-IE" sz="3600" b="1" dirty="0">
              <a:solidFill>
                <a:srgbClr val="DE0A1D"/>
              </a:solidFill>
            </a:endParaRPr>
          </a:p>
        </p:txBody>
      </p:sp>
      <p:pic>
        <p:nvPicPr>
          <p:cNvPr id="5" name="Picture Placeholder 12">
            <a:extLst>
              <a:ext uri="{FF2B5EF4-FFF2-40B4-BE49-F238E27FC236}">
                <a16:creationId xmlns:a16="http://schemas.microsoft.com/office/drawing/2014/main" id="{357970DA-D655-D613-F501-887A9E8BE89C}"/>
              </a:ext>
            </a:extLst>
          </p:cNvPr>
          <p:cNvPicPr>
            <a:picLocks noGrp="1" noChangeAspect="1"/>
          </p:cNvPicPr>
          <p:nvPr>
            <p:ph type="pic" sz="quarter" idx="41"/>
          </p:nvPr>
        </p:nvPicPr>
        <p:blipFill>
          <a:blip r:embed="rId2"/>
          <a:srcRect l="7529" r="7529"/>
          <a:stretch>
            <a:fillRect/>
          </a:stretch>
        </p:blipFill>
        <p:spPr>
          <a:xfrm>
            <a:off x="7938" y="188913"/>
            <a:ext cx="3354387" cy="5922962"/>
          </a:xfrm>
        </p:spPr>
      </p:pic>
    </p:spTree>
    <p:extLst>
      <p:ext uri="{BB962C8B-B14F-4D97-AF65-F5344CB8AC3E}">
        <p14:creationId xmlns:p14="http://schemas.microsoft.com/office/powerpoint/2010/main" val="44469298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CE426CC5-F5BB-B309-B3C9-8A99CECCD113}"/>
              </a:ext>
            </a:extLst>
          </p:cNvPr>
          <p:cNvSpPr>
            <a:spLocks noGrp="1"/>
          </p:cNvSpPr>
          <p:nvPr>
            <p:ph type="body" sz="quarter" idx="18"/>
          </p:nvPr>
        </p:nvSpPr>
        <p:spPr>
          <a:xfrm>
            <a:off x="779463" y="754856"/>
            <a:ext cx="5316537" cy="3025775"/>
          </a:xfrm>
        </p:spPr>
        <p:txBody>
          <a:bodyPr/>
          <a:lstStyle/>
          <a:p>
            <a:pPr marL="0" indent="0">
              <a:spcBef>
                <a:spcPts val="0"/>
              </a:spcBef>
            </a:pPr>
            <a:r>
              <a:rPr lang="en-US" sz="2000" dirty="0"/>
              <a:t>Eine ordnungsgemäße und gut dokumentierte Nachbereitung eines Verkaufsbesuchs ist von wesentlicher Bedeutung</a:t>
            </a:r>
            <a:r>
              <a:rPr lang="en-US" sz="2000" b="1" dirty="0"/>
              <a:t>, auch wenn kein Verkauf zustande kommt</a:t>
            </a:r>
            <a:r>
              <a:rPr lang="en-US" sz="2000" dirty="0"/>
              <a:t>, da sie von Höflichkeit zeugt und bestimmte potenzielle Chancen eröffnet</a:t>
            </a:r>
            <a:endParaRPr lang="en-US" sz="1600" dirty="0"/>
          </a:p>
          <a:p>
            <a:pPr>
              <a:spcBef>
                <a:spcPts val="0"/>
              </a:spcBef>
              <a:tabLst>
                <a:tab pos="1281113" algn="l"/>
              </a:tabLst>
            </a:pPr>
            <a:endParaRPr lang="en-US" sz="700" dirty="0"/>
          </a:p>
          <a:p>
            <a:pPr marL="365125" indent="-342900">
              <a:spcBef>
                <a:spcPts val="0"/>
              </a:spcBef>
              <a:buClr>
                <a:srgbClr val="DE0A1D"/>
              </a:buClr>
              <a:buFont typeface="Arial" panose="020B0604020202020204" pitchFamily="34" charset="0"/>
              <a:buChar char="•"/>
            </a:pPr>
            <a:r>
              <a:rPr lang="en-US" sz="2000" dirty="0"/>
              <a:t>Verfassen eines schriftlichen Dankesschreibens an den Kunden</a:t>
            </a:r>
          </a:p>
          <a:p>
            <a:pPr marL="365125" indent="-342900">
              <a:spcBef>
                <a:spcPts val="0"/>
              </a:spcBef>
              <a:buClr>
                <a:srgbClr val="DE0A1D"/>
              </a:buClr>
              <a:buFont typeface="Arial" panose="020B0604020202020204" pitchFamily="34" charset="0"/>
              <a:buChar char="•"/>
            </a:pPr>
            <a:r>
              <a:rPr lang="en-US" sz="2000" dirty="0"/>
              <a:t>Legen Sie ein paar Visitenkarten bei</a:t>
            </a:r>
          </a:p>
          <a:p>
            <a:pPr marL="365125" indent="-342900">
              <a:spcBef>
                <a:spcPts val="0"/>
              </a:spcBef>
              <a:buClr>
                <a:srgbClr val="DE0A1D"/>
              </a:buClr>
              <a:buFont typeface="Arial" panose="020B0604020202020204" pitchFamily="34" charset="0"/>
              <a:buChar char="•"/>
            </a:pPr>
            <a:r>
              <a:rPr lang="en-US" sz="2000" dirty="0"/>
              <a:t>Bitten Sie um die Möglichkeit, sie in 6 Monaten wieder zu besuchen</a:t>
            </a:r>
          </a:p>
          <a:p>
            <a:pPr marL="365125" indent="-342900">
              <a:spcBef>
                <a:spcPts val="0"/>
              </a:spcBef>
              <a:buClr>
                <a:srgbClr val="DE0A1D"/>
              </a:buClr>
              <a:buFont typeface="Arial" panose="020B0604020202020204" pitchFamily="34" charset="0"/>
              <a:buChar char="•"/>
            </a:pPr>
            <a:r>
              <a:rPr lang="en-US" sz="2000" dirty="0"/>
              <a:t>Scheuen Sie sich nicht, um Empfehlungen zu bitten</a:t>
            </a:r>
          </a:p>
          <a:p>
            <a:pPr marL="365125" indent="-342900">
              <a:spcBef>
                <a:spcPts val="0"/>
              </a:spcBef>
              <a:buClr>
                <a:srgbClr val="DE0A1D"/>
              </a:buClr>
              <a:buFont typeface="Arial" panose="020B0604020202020204" pitchFamily="34" charset="0"/>
              <a:buChar char="•"/>
            </a:pPr>
            <a:r>
              <a:rPr lang="en-US" sz="2000" dirty="0"/>
              <a:t>Bitten Sie um Feedback zu Ihrem Produkt, Ihrer Dienstleistung und Ihrer Präsentation</a:t>
            </a:r>
          </a:p>
          <a:p>
            <a:pPr marL="365125" indent="-342900">
              <a:spcBef>
                <a:spcPts val="0"/>
              </a:spcBef>
              <a:buClr>
                <a:srgbClr val="DE0A1D"/>
              </a:buClr>
              <a:buFont typeface="Arial" panose="020B0604020202020204" pitchFamily="34" charset="0"/>
              <a:buChar char="•"/>
            </a:pPr>
            <a:r>
              <a:rPr lang="en-US" sz="2000" dirty="0"/>
              <a:t>Fragen Sie nach Verbesserungsvorschlägen für das aktuelle Produkt oder die Dienstleistung</a:t>
            </a:r>
          </a:p>
        </p:txBody>
      </p:sp>
      <p:sp>
        <p:nvSpPr>
          <p:cNvPr id="8" name="Freeform 1">
            <a:extLst>
              <a:ext uri="{FF2B5EF4-FFF2-40B4-BE49-F238E27FC236}">
                <a16:creationId xmlns:a16="http://schemas.microsoft.com/office/drawing/2014/main" id="{A34BB102-24A5-343F-BA9D-17E1CBA0BF49}"/>
              </a:ext>
            </a:extLst>
          </p:cNvPr>
          <p:cNvSpPr/>
          <p:nvPr/>
        </p:nvSpPr>
        <p:spPr>
          <a:xfrm rot="10800000">
            <a:off x="6325298" y="292239"/>
            <a:ext cx="5866701"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 name="Text Placeholder 2">
            <a:extLst>
              <a:ext uri="{FF2B5EF4-FFF2-40B4-BE49-F238E27FC236}">
                <a16:creationId xmlns:a16="http://schemas.microsoft.com/office/drawing/2014/main" id="{E78042A1-47E7-D148-2CB5-73B51BD66FF2}"/>
              </a:ext>
            </a:extLst>
          </p:cNvPr>
          <p:cNvSpPr>
            <a:spLocks noGrp="1"/>
          </p:cNvSpPr>
          <p:nvPr>
            <p:ph type="body" sz="quarter" idx="16"/>
          </p:nvPr>
        </p:nvSpPr>
        <p:spPr>
          <a:xfrm>
            <a:off x="8369122" y="380185"/>
            <a:ext cx="4990998" cy="992652"/>
          </a:xfrm>
        </p:spPr>
        <p:txBody>
          <a:bodyPr/>
          <a:lstStyle/>
          <a:p>
            <a:r>
              <a:rPr lang="en-GB" dirty="0"/>
              <a:t>Immer nachfassen</a:t>
            </a:r>
            <a:endParaRPr lang="en-IE" dirty="0"/>
          </a:p>
        </p:txBody>
      </p:sp>
      <p:pic>
        <p:nvPicPr>
          <p:cNvPr id="2" name="Picture Placeholder 5">
            <a:extLst>
              <a:ext uri="{FF2B5EF4-FFF2-40B4-BE49-F238E27FC236}">
                <a16:creationId xmlns:a16="http://schemas.microsoft.com/office/drawing/2014/main" id="{0392F905-4B84-6FBA-2B23-45CE61CB9E26}"/>
              </a:ext>
            </a:extLst>
          </p:cNvPr>
          <p:cNvPicPr>
            <a:picLocks noGrp="1" noChangeAspect="1"/>
          </p:cNvPicPr>
          <p:nvPr>
            <p:ph type="pic" sz="quarter" idx="42"/>
          </p:nvPr>
        </p:nvPicPr>
        <p:blipFill>
          <a:blip r:embed="rId2"/>
          <a:srcRect t="16192" b="16192"/>
          <a:stretch>
            <a:fillRect/>
          </a:stretch>
        </p:blipFill>
        <p:spPr>
          <a:xfrm>
            <a:off x="6545263" y="1452563"/>
            <a:ext cx="5646737" cy="4656137"/>
          </a:xfrm>
        </p:spPr>
      </p:pic>
    </p:spTree>
    <p:extLst>
      <p:ext uri="{BB962C8B-B14F-4D97-AF65-F5344CB8AC3E}">
        <p14:creationId xmlns:p14="http://schemas.microsoft.com/office/powerpoint/2010/main" val="36018969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43EDC4-FD06-DABA-ADA3-1E58A592D451}"/>
              </a:ext>
            </a:extLst>
          </p:cNvPr>
          <p:cNvSpPr>
            <a:spLocks noGrp="1"/>
          </p:cNvSpPr>
          <p:nvPr>
            <p:ph type="body" sz="quarter" idx="13"/>
          </p:nvPr>
        </p:nvSpPr>
        <p:spPr>
          <a:xfrm>
            <a:off x="1250830" y="1274746"/>
            <a:ext cx="3873261" cy="3808175"/>
          </a:xfrm>
        </p:spPr>
        <p:txBody>
          <a:bodyPr/>
          <a:lstStyle/>
          <a:p>
            <a:pPr algn="l"/>
            <a:r>
              <a:rPr lang="en-GB" dirty="0"/>
              <a:t>"Feiern Sie nicht den Abschluss eines Verkaufs, sondern den Beginn einer Beziehung".</a:t>
            </a:r>
            <a:endParaRPr lang="en-IE" dirty="0"/>
          </a:p>
        </p:txBody>
      </p:sp>
      <p:sp>
        <p:nvSpPr>
          <p:cNvPr id="4" name="TextBox 3">
            <a:extLst>
              <a:ext uri="{FF2B5EF4-FFF2-40B4-BE49-F238E27FC236}">
                <a16:creationId xmlns:a16="http://schemas.microsoft.com/office/drawing/2014/main" id="{D1FE88CD-CC29-40C8-790C-C053EE9BC554}"/>
              </a:ext>
            </a:extLst>
          </p:cNvPr>
          <p:cNvSpPr txBox="1"/>
          <p:nvPr/>
        </p:nvSpPr>
        <p:spPr>
          <a:xfrm>
            <a:off x="3838755" y="5477774"/>
            <a:ext cx="1413528" cy="369332"/>
          </a:xfrm>
          <a:prstGeom prst="rect">
            <a:avLst/>
          </a:prstGeom>
          <a:noFill/>
        </p:spPr>
        <p:txBody>
          <a:bodyPr wrap="none" rtlCol="0">
            <a:spAutoFit/>
          </a:bodyPr>
          <a:lstStyle/>
          <a:p>
            <a:r>
              <a:rPr lang="en-GB" dirty="0">
                <a:solidFill>
                  <a:schemeClr val="bg1"/>
                </a:solidFill>
              </a:rPr>
              <a:t>Patricia </a:t>
            </a:r>
            <a:r>
              <a:rPr lang="en-GB" dirty="0" err="1">
                <a:solidFill>
                  <a:schemeClr val="bg1"/>
                </a:solidFill>
              </a:rPr>
              <a:t>Fripp</a:t>
            </a:r>
            <a:endParaRPr lang="en-IE" dirty="0">
              <a:solidFill>
                <a:schemeClr val="bg1"/>
              </a:solidFill>
            </a:endParaRPr>
          </a:p>
        </p:txBody>
      </p:sp>
      <p:grpSp>
        <p:nvGrpSpPr>
          <p:cNvPr id="5" name="Group 4">
            <a:extLst>
              <a:ext uri="{FF2B5EF4-FFF2-40B4-BE49-F238E27FC236}">
                <a16:creationId xmlns:a16="http://schemas.microsoft.com/office/drawing/2014/main" id="{B78C2641-68B0-4289-9475-30421D62152A}"/>
              </a:ext>
            </a:extLst>
          </p:cNvPr>
          <p:cNvGrpSpPr/>
          <p:nvPr/>
        </p:nvGrpSpPr>
        <p:grpSpPr>
          <a:xfrm>
            <a:off x="5124091" y="4115119"/>
            <a:ext cx="1487826" cy="1083162"/>
            <a:chOff x="3400450" y="986392"/>
            <a:chExt cx="1487826" cy="1083162"/>
          </a:xfrm>
        </p:grpSpPr>
        <p:sp>
          <p:nvSpPr>
            <p:cNvPr id="6" name="Freeform 9">
              <a:extLst>
                <a:ext uri="{FF2B5EF4-FFF2-40B4-BE49-F238E27FC236}">
                  <a16:creationId xmlns:a16="http://schemas.microsoft.com/office/drawing/2014/main" id="{7CAF83C5-195F-CAE5-664A-B98B0BAAB51E}"/>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9F2DBC0F-F865-BE6D-D602-C24B6DCF9F7E}"/>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3" name="Picture Placeholder 10">
            <a:extLst>
              <a:ext uri="{FF2B5EF4-FFF2-40B4-BE49-F238E27FC236}">
                <a16:creationId xmlns:a16="http://schemas.microsoft.com/office/drawing/2014/main" id="{A250A08E-E1BC-25EE-AC54-E3B9B7858190}"/>
              </a:ext>
            </a:extLst>
          </p:cNvPr>
          <p:cNvPicPr>
            <a:picLocks noGrp="1" noChangeAspect="1"/>
          </p:cNvPicPr>
          <p:nvPr>
            <p:ph type="pic" sz="quarter" idx="42"/>
          </p:nvPr>
        </p:nvPicPr>
        <p:blipFill>
          <a:blip r:embed="rId2"/>
          <a:srcRect l="12815" r="12815"/>
          <a:stretch>
            <a:fillRect/>
          </a:stretch>
        </p:blipFill>
        <p:spPr>
          <a:xfrm>
            <a:off x="6096000" y="1404938"/>
            <a:ext cx="5240338" cy="4703762"/>
          </a:xfrm>
        </p:spPr>
      </p:pic>
    </p:spTree>
    <p:extLst>
      <p:ext uri="{BB962C8B-B14F-4D97-AF65-F5344CB8AC3E}">
        <p14:creationId xmlns:p14="http://schemas.microsoft.com/office/powerpoint/2010/main" val="346318699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ABF53-931D-F3FD-1DC6-2BEEDCC8D910}"/>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8FBE6C3-DB24-8569-0C09-B92261552330}"/>
              </a:ext>
            </a:extLst>
          </p:cNvPr>
          <p:cNvSpPr>
            <a:spLocks noGrp="1"/>
          </p:cNvSpPr>
          <p:nvPr>
            <p:ph type="body" sz="quarter" idx="16"/>
          </p:nvPr>
        </p:nvSpPr>
        <p:spPr>
          <a:xfrm>
            <a:off x="5148972" y="1214136"/>
            <a:ext cx="6010480" cy="3066422"/>
          </a:xfrm>
        </p:spPr>
        <p:txBody>
          <a:bodyPr/>
          <a:lstStyle/>
          <a:p>
            <a:r>
              <a:rPr lang="en-US" dirty="0"/>
              <a:t>Übungen zur Selbstreflexion</a:t>
            </a:r>
          </a:p>
        </p:txBody>
      </p:sp>
    </p:spTree>
    <p:extLst>
      <p:ext uri="{BB962C8B-B14F-4D97-AF65-F5344CB8AC3E}">
        <p14:creationId xmlns:p14="http://schemas.microsoft.com/office/powerpoint/2010/main" val="3900975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0</TotalTime>
  <Words>7426</Words>
  <Application>Microsoft Office PowerPoint</Application>
  <PresentationFormat>Breitbild</PresentationFormat>
  <Paragraphs>670</Paragraphs>
  <Slides>103</Slides>
  <Notes>8</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03</vt:i4>
      </vt:variant>
    </vt:vector>
  </HeadingPairs>
  <TitlesOfParts>
    <vt:vector size="112" baseType="lpstr">
      <vt:lpstr>Arial</vt:lpstr>
      <vt:lpstr>Arial,Sans-Serif</vt:lpstr>
      <vt:lpstr>Calibri</vt:lpstr>
      <vt:lpstr>Century Gothic</vt:lpstr>
      <vt:lpstr>Montserrat Light</vt:lpstr>
      <vt:lpstr>Segoe UI</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9895927D73E6E5ACE5BF23F0A0598607</cp:keywords>
  <cp:lastModifiedBy>David Blunck</cp:lastModifiedBy>
  <cp:revision>15</cp:revision>
  <dcterms:created xsi:type="dcterms:W3CDTF">2020-10-14T13:32:04Z</dcterms:created>
  <dcterms:modified xsi:type="dcterms:W3CDTF">2025-03-18T17:59:03Z</dcterms:modified>
</cp:coreProperties>
</file>